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01" r:id="rId6"/>
    <p:sldMasterId id="2147483725" r:id="rId7"/>
  </p:sldMasterIdLst>
  <p:notesMasterIdLst>
    <p:notesMasterId r:id="rId18"/>
  </p:notesMasterIdLst>
  <p:handoutMasterIdLst>
    <p:handoutMasterId r:id="rId19"/>
  </p:handoutMasterIdLst>
  <p:sldIdLst>
    <p:sldId id="2648" r:id="rId8"/>
    <p:sldId id="2651" r:id="rId9"/>
    <p:sldId id="2655" r:id="rId10"/>
    <p:sldId id="20705" r:id="rId11"/>
    <p:sldId id="2654" r:id="rId12"/>
    <p:sldId id="20706" r:id="rId13"/>
    <p:sldId id="580" r:id="rId14"/>
    <p:sldId id="581" r:id="rId15"/>
    <p:sldId id="20704" r:id="rId16"/>
    <p:sldId id="293" r:id="rId17"/>
  </p:sldIdLst>
  <p:sldSz cx="12192000" cy="6858000"/>
  <p:notesSz cx="6797675" cy="9928225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Futura" panose="020B0604020202020204" charset="0"/>
      <p:regular r:id="rId24"/>
      <p:bold r:id="rId25"/>
      <p:italic r:id="rId26"/>
      <p:boldItalic r:id="rId27"/>
    </p:embeddedFont>
    <p:embeddedFont>
      <p:font typeface="Futura Bold" panose="00000900000000000000" pitchFamily="2" charset="0"/>
      <p:regular r:id="rId28"/>
      <p:boldItalic r:id="rId29"/>
    </p:embeddedFont>
    <p:embeddedFont>
      <p:font typeface="Futura Medium" panose="00000400000000000000" pitchFamily="2" charset="0"/>
      <p:regular r:id="rId30"/>
      <p:bold r:id="rId31"/>
      <p:italic r:id="rId32"/>
      <p:boldItalic r:id="rId33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34" userDrawn="1">
          <p15:clr>
            <a:srgbClr val="A4A3A4"/>
          </p15:clr>
        </p15:guide>
        <p15:guide id="2" pos="199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5610"/>
    <a:srgbClr val="008000"/>
    <a:srgbClr val="027E78"/>
    <a:srgbClr val="008068"/>
    <a:srgbClr val="01FFCF"/>
    <a:srgbClr val="0000CC"/>
    <a:srgbClr val="66B492"/>
    <a:srgbClr val="004EAC"/>
    <a:srgbClr val="339B6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48" autoAdjust="0"/>
    <p:restoredTop sz="93817" autoAdjust="0"/>
  </p:normalViewPr>
  <p:slideViewPr>
    <p:cSldViewPr snapToGrid="0" showGuides="1">
      <p:cViewPr varScale="1">
        <p:scale>
          <a:sx n="110" d="100"/>
          <a:sy n="110" d="100"/>
        </p:scale>
        <p:origin x="30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2160" y="72"/>
      </p:cViewPr>
      <p:guideLst>
        <p:guide orient="horz" pos="3234"/>
        <p:guide pos="1990"/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E8A930-FB3A-4EA2-9C07-B8C984D3F2A6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35A248-32F1-4F45-B825-D1B9FEE136E4}">
      <dgm:prSet phldrT="[Text]" custT="1"/>
      <dgm:spPr/>
      <dgm:t>
        <a:bodyPr/>
        <a:lstStyle/>
        <a:p>
          <a:r>
            <a:rPr lang="en-US" sz="1800" dirty="0">
              <a:solidFill>
                <a:srgbClr val="FF0000"/>
              </a:solidFill>
            </a:rPr>
            <a:t>- FOT Export line sabotage</a:t>
          </a:r>
        </a:p>
        <a:p>
          <a:r>
            <a:rPr lang="en-US" sz="1800" dirty="0">
              <a:solidFill>
                <a:srgbClr val="FF0000"/>
              </a:solidFill>
            </a:rPr>
            <a:t>- TRP leak</a:t>
          </a:r>
        </a:p>
        <a:p>
          <a:r>
            <a:rPr lang="en-US" sz="1800" dirty="0"/>
            <a:t>- 1-0-1 &amp; Must Wins</a:t>
          </a:r>
        </a:p>
        <a:p>
          <a:r>
            <a:rPr lang="en-US" sz="1800" dirty="0"/>
            <a:t>- Safety Leadership/Boost</a:t>
          </a:r>
        </a:p>
        <a:p>
          <a:endParaRPr lang="en-US" sz="1800" dirty="0"/>
        </a:p>
        <a:p>
          <a:endParaRPr lang="en-US" sz="1800" dirty="0"/>
        </a:p>
      </dgm:t>
    </dgm:pt>
    <dgm:pt modelId="{46BE2240-E8F2-40AF-84C0-54BE3D13AEF7}" type="parTrans" cxnId="{1A5E6963-BF8A-404E-9687-66A8E3818F48}">
      <dgm:prSet/>
      <dgm:spPr/>
      <dgm:t>
        <a:bodyPr/>
        <a:lstStyle/>
        <a:p>
          <a:endParaRPr lang="en-US" sz="1600"/>
        </a:p>
      </dgm:t>
    </dgm:pt>
    <dgm:pt modelId="{0C91000A-14B0-4D70-A9F1-27490F8ECD89}" type="sibTrans" cxnId="{1A5E6963-BF8A-404E-9687-66A8E3818F48}">
      <dgm:prSet/>
      <dgm:spPr/>
      <dgm:t>
        <a:bodyPr/>
        <a:lstStyle/>
        <a:p>
          <a:endParaRPr lang="en-US" sz="1600"/>
        </a:p>
      </dgm:t>
    </dgm:pt>
    <dgm:pt modelId="{7C95C3C1-573E-4085-A804-2F0352B15048}">
      <dgm:prSet phldrT="[Text]" custT="1"/>
      <dgm:spPr/>
      <dgm:t>
        <a:bodyPr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1-0-1 &amp; Must Win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Back to Basic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Bad Actor &amp; Vulnerabilitie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Task Zero / </a:t>
          </a:r>
          <a:r>
            <a:rPr lang="en-US" sz="1800" kern="1200" dirty="0">
              <a:solidFill>
                <a:srgbClr val="FF0000"/>
              </a:solidFill>
            </a:rPr>
            <a:t>TRP /TEP leak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Projects - FYIP/SSAGS/ESCB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EA FOD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</a:t>
          </a:r>
          <a:r>
            <a:rPr lang="en-US" sz="1800" kern="1200" dirty="0">
              <a:solidFill>
                <a:srgbClr val="FF0000"/>
              </a:solidFill>
            </a:rPr>
            <a:t>Corrosion Mgt. – Estuary B/Line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Well Integrity (Red Wells)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 EA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Symp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leg repair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12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Forcados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W/o wells</a:t>
          </a: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Otumara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Compressor Reliability</a:t>
          </a:r>
        </a:p>
      </dgm:t>
    </dgm:pt>
    <dgm:pt modelId="{8DA0444D-750D-4DBA-AC91-57A9FE133D5B}" type="parTrans" cxnId="{B0948573-6B61-4D17-8A6D-5F8A1CBE9D6F}">
      <dgm:prSet/>
      <dgm:spPr/>
      <dgm:t>
        <a:bodyPr/>
        <a:lstStyle/>
        <a:p>
          <a:endParaRPr lang="en-US" sz="1600"/>
        </a:p>
      </dgm:t>
    </dgm:pt>
    <dgm:pt modelId="{8CAF7733-F864-44BA-9A55-FF3A571820F9}" type="sibTrans" cxnId="{B0948573-6B61-4D17-8A6D-5F8A1CBE9D6F}">
      <dgm:prSet/>
      <dgm:spPr/>
      <dgm:t>
        <a:bodyPr/>
        <a:lstStyle/>
        <a:p>
          <a:endParaRPr lang="en-US" sz="1600"/>
        </a:p>
      </dgm:t>
    </dgm:pt>
    <dgm:pt modelId="{77FB6DC4-EB13-4CDB-8642-668225F946FE}">
      <dgm:prSet phldrT="[Text]" custT="1"/>
      <dgm:spPr/>
      <dgm:t>
        <a:bodyPr/>
        <a:lstStyle/>
        <a:p>
          <a:r>
            <a:rPr lang="en-US" sz="1800" dirty="0"/>
            <a:t>- 1-0-1 &amp; Must Wins</a:t>
          </a:r>
        </a:p>
        <a:p>
          <a:r>
            <a:rPr lang="en-US" sz="1800" dirty="0"/>
            <a:t>- TRP Availability/Task Zero </a:t>
          </a:r>
        </a:p>
        <a:p>
          <a:r>
            <a:rPr lang="en-US" sz="1800" dirty="0"/>
            <a:t>- FYIP Step 1C (12) Wells</a:t>
          </a:r>
        </a:p>
        <a:p>
          <a:r>
            <a:rPr lang="en-US" sz="1800" dirty="0"/>
            <a:t>- SSAGS step 2 (6 </a:t>
          </a:r>
          <a:r>
            <a:rPr lang="en-US" sz="1800" dirty="0" err="1"/>
            <a:t>Tunu</a:t>
          </a:r>
          <a:r>
            <a:rPr lang="en-US" sz="1800" dirty="0"/>
            <a:t>) Wells</a:t>
          </a:r>
        </a:p>
        <a:p>
          <a:r>
            <a:rPr lang="en-US" sz="1800" dirty="0"/>
            <a:t>- FYIP/SSAGS/ESCB-NGC</a:t>
          </a:r>
        </a:p>
        <a:p>
          <a:r>
            <a:rPr lang="en-US" sz="1800" dirty="0"/>
            <a:t>- EA FOD</a:t>
          </a:r>
        </a:p>
        <a:p>
          <a:r>
            <a:rPr lang="en-US" sz="1800" dirty="0"/>
            <a:t>- Firm </a:t>
          </a:r>
          <a:r>
            <a:rPr lang="en-US" sz="1800" dirty="0" err="1"/>
            <a:t>Domgas</a:t>
          </a:r>
          <a:r>
            <a:rPr lang="en-US" sz="1800" dirty="0"/>
            <a:t> sales agreement</a:t>
          </a:r>
        </a:p>
        <a:p>
          <a:r>
            <a:rPr lang="en-US" sz="1800" dirty="0"/>
            <a:t>- </a:t>
          </a:r>
          <a:r>
            <a:rPr lang="en-US" sz="1800" dirty="0" err="1"/>
            <a:t>Otumara</a:t>
          </a:r>
          <a:r>
            <a:rPr lang="en-US" sz="1800" dirty="0"/>
            <a:t> Opt./</a:t>
          </a:r>
          <a:r>
            <a:rPr lang="en-US" sz="1800" dirty="0" err="1"/>
            <a:t>Compr</a:t>
          </a:r>
          <a:r>
            <a:rPr lang="en-US" sz="1800" dirty="0"/>
            <a:t>. </a:t>
          </a:r>
          <a:r>
            <a:rPr lang="en-US" sz="1800" dirty="0" err="1"/>
            <a:t>Reliab</a:t>
          </a:r>
          <a:r>
            <a:rPr lang="en-US" sz="1800" dirty="0"/>
            <a:t>. </a:t>
          </a:r>
        </a:p>
        <a:p>
          <a:r>
            <a:rPr lang="en-US" sz="1800" dirty="0"/>
            <a:t>- Sand Management</a:t>
          </a:r>
        </a:p>
        <a:p>
          <a:r>
            <a:rPr lang="en-US" sz="1800" dirty="0"/>
            <a:t>- Corrosion Management</a:t>
          </a:r>
        </a:p>
        <a:p>
          <a:r>
            <a:rPr lang="en-US" sz="1800" dirty="0"/>
            <a:t>- Well Integrity (Red Wells)</a:t>
          </a:r>
        </a:p>
        <a:p>
          <a:r>
            <a:rPr lang="en-US" sz="1800" dirty="0"/>
            <a:t>- FOT power supply to N/Bank </a:t>
          </a:r>
        </a:p>
        <a:p>
          <a:r>
            <a:rPr lang="en-US" sz="1800" dirty="0"/>
            <a:t>- HA/HI – Post DG3</a:t>
          </a:r>
        </a:p>
        <a:p>
          <a:endParaRPr lang="en-US" sz="1800" dirty="0"/>
        </a:p>
        <a:p>
          <a:endParaRPr lang="en-US" sz="1800" dirty="0"/>
        </a:p>
      </dgm:t>
    </dgm:pt>
    <dgm:pt modelId="{3A834B7F-9D19-4559-BBA6-8385162B3441}" type="sibTrans" cxnId="{9CCCC949-21F5-468A-A9CE-119FF6A35072}">
      <dgm:prSet/>
      <dgm:spPr/>
      <dgm:t>
        <a:bodyPr/>
        <a:lstStyle/>
        <a:p>
          <a:endParaRPr lang="en-US" sz="1600"/>
        </a:p>
      </dgm:t>
    </dgm:pt>
    <dgm:pt modelId="{338D8C79-FC14-4DDC-BAEB-6A62987FF6B6}" type="parTrans" cxnId="{9CCCC949-21F5-468A-A9CE-119FF6A35072}">
      <dgm:prSet/>
      <dgm:spPr/>
      <dgm:t>
        <a:bodyPr/>
        <a:lstStyle/>
        <a:p>
          <a:endParaRPr lang="en-US" sz="1600"/>
        </a:p>
      </dgm:t>
    </dgm:pt>
    <dgm:pt modelId="{E0971990-6066-4632-857C-10FCABD4CAB9}" type="pres">
      <dgm:prSet presAssocID="{50E8A930-FB3A-4EA2-9C07-B8C984D3F2A6}" presName="rootnode" presStyleCnt="0">
        <dgm:presLayoutVars>
          <dgm:chMax/>
          <dgm:chPref/>
          <dgm:dir/>
          <dgm:animLvl val="lvl"/>
        </dgm:presLayoutVars>
      </dgm:prSet>
      <dgm:spPr/>
    </dgm:pt>
    <dgm:pt modelId="{A97FDC9C-C2CB-408D-9C75-68D1D8DFC76B}" type="pres">
      <dgm:prSet presAssocID="{6935A248-32F1-4F45-B825-D1B9FEE136E4}" presName="composite" presStyleCnt="0"/>
      <dgm:spPr/>
    </dgm:pt>
    <dgm:pt modelId="{6A029AE2-736E-4322-9DBE-3568D95A50D4}" type="pres">
      <dgm:prSet presAssocID="{6935A248-32F1-4F45-B825-D1B9FEE136E4}" presName="LShape" presStyleLbl="alignNode1" presStyleIdx="0" presStyleCnt="5" custLinFactNeighborX="-1117" custLinFactNeighborY="3454"/>
      <dgm:spPr>
        <a:solidFill>
          <a:srgbClr val="FF0000"/>
        </a:solidFill>
        <a:ln>
          <a:noFill/>
        </a:ln>
      </dgm:spPr>
    </dgm:pt>
    <dgm:pt modelId="{8C16AB36-B2B1-47D8-9BF7-132CFD422BE0}" type="pres">
      <dgm:prSet presAssocID="{6935A248-32F1-4F45-B825-D1B9FEE136E4}" presName="ParentText" presStyleLbl="revTx" presStyleIdx="0" presStyleCnt="3" custScaleX="96490" custScaleY="87516" custLinFactNeighborX="-3362" custLinFactNeighborY="-3672">
        <dgm:presLayoutVars>
          <dgm:chMax val="0"/>
          <dgm:chPref val="0"/>
          <dgm:bulletEnabled val="1"/>
        </dgm:presLayoutVars>
      </dgm:prSet>
      <dgm:spPr/>
    </dgm:pt>
    <dgm:pt modelId="{3758892B-D7D3-41CF-ADD1-165946E8574E}" type="pres">
      <dgm:prSet presAssocID="{6935A248-32F1-4F45-B825-D1B9FEE136E4}" presName="Triangle" presStyleLbl="alignNode1" presStyleIdx="1" presStyleCnt="5"/>
      <dgm:spPr/>
    </dgm:pt>
    <dgm:pt modelId="{1DE99A5F-7F40-4910-B618-C38BFC14D384}" type="pres">
      <dgm:prSet presAssocID="{0C91000A-14B0-4D70-A9F1-27490F8ECD89}" presName="sibTrans" presStyleCnt="0"/>
      <dgm:spPr/>
    </dgm:pt>
    <dgm:pt modelId="{A97466F2-7A5C-4776-A44C-5F2365593E5B}" type="pres">
      <dgm:prSet presAssocID="{0C91000A-14B0-4D70-A9F1-27490F8ECD89}" presName="space" presStyleCnt="0"/>
      <dgm:spPr/>
    </dgm:pt>
    <dgm:pt modelId="{998CA4FD-8F27-4179-AA95-97377DB76299}" type="pres">
      <dgm:prSet presAssocID="{7C95C3C1-573E-4085-A804-2F0352B15048}" presName="composite" presStyleCnt="0"/>
      <dgm:spPr/>
    </dgm:pt>
    <dgm:pt modelId="{21154D61-1593-4B87-8DFF-CF1738548075}" type="pres">
      <dgm:prSet presAssocID="{7C95C3C1-573E-4085-A804-2F0352B15048}" presName="LShape" presStyleLbl="alignNode1" presStyleIdx="2" presStyleCnt="5" custLinFactNeighborY="0"/>
      <dgm:spPr>
        <a:ln>
          <a:noFill/>
        </a:ln>
      </dgm:spPr>
    </dgm:pt>
    <dgm:pt modelId="{9BD4CDB9-CD9E-4B6A-B58E-67CC2537C625}" type="pres">
      <dgm:prSet presAssocID="{7C95C3C1-573E-4085-A804-2F0352B15048}" presName="ParentText" presStyleLbl="revTx" presStyleIdx="1" presStyleCnt="3" custScaleX="117310" custLinFactNeighborX="7296" custLinFactNeighborY="-535">
        <dgm:presLayoutVars>
          <dgm:chMax val="0"/>
          <dgm:chPref val="0"/>
          <dgm:bulletEnabled val="1"/>
        </dgm:presLayoutVars>
      </dgm:prSet>
      <dgm:spPr/>
    </dgm:pt>
    <dgm:pt modelId="{104B49CD-12F5-4E33-8917-CBD52D5DE932}" type="pres">
      <dgm:prSet presAssocID="{7C95C3C1-573E-4085-A804-2F0352B15048}" presName="Triangle" presStyleLbl="alignNode1" presStyleIdx="3" presStyleCnt="5"/>
      <dgm:spPr/>
    </dgm:pt>
    <dgm:pt modelId="{C21C44BF-867C-4DE2-A855-6B2B7642F474}" type="pres">
      <dgm:prSet presAssocID="{8CAF7733-F864-44BA-9A55-FF3A571820F9}" presName="sibTrans" presStyleCnt="0"/>
      <dgm:spPr/>
    </dgm:pt>
    <dgm:pt modelId="{00A97B43-3F63-4BFC-AF4B-D850D139B6C9}" type="pres">
      <dgm:prSet presAssocID="{8CAF7733-F864-44BA-9A55-FF3A571820F9}" presName="space" presStyleCnt="0"/>
      <dgm:spPr/>
    </dgm:pt>
    <dgm:pt modelId="{FD310BC4-55F0-4790-B31F-9126D94C0FE2}" type="pres">
      <dgm:prSet presAssocID="{77FB6DC4-EB13-4CDB-8642-668225F946FE}" presName="composite" presStyleCnt="0"/>
      <dgm:spPr/>
    </dgm:pt>
    <dgm:pt modelId="{BEA3AFA4-2126-4150-80D1-D0FF0ABF02A4}" type="pres">
      <dgm:prSet presAssocID="{77FB6DC4-EB13-4CDB-8642-668225F946FE}" presName="LShape" presStyleLbl="alignNode1" presStyleIdx="4" presStyleCnt="5" custLinFactNeighborY="0"/>
      <dgm:spPr>
        <a:solidFill>
          <a:srgbClr val="FF0000"/>
        </a:solidFill>
        <a:ln>
          <a:noFill/>
        </a:ln>
      </dgm:spPr>
    </dgm:pt>
    <dgm:pt modelId="{9A73F6E9-07EE-4C81-AC66-E65E4973CF7C}" type="pres">
      <dgm:prSet presAssocID="{77FB6DC4-EB13-4CDB-8642-668225F946FE}" presName="ParentText" presStyleLbl="revTx" presStyleIdx="2" presStyleCnt="3" custScaleX="108530" custScaleY="98562" custLinFactNeighborX="2342" custLinFactNeighborY="199">
        <dgm:presLayoutVars>
          <dgm:chMax val="0"/>
          <dgm:chPref val="0"/>
          <dgm:bulletEnabled val="1"/>
        </dgm:presLayoutVars>
      </dgm:prSet>
      <dgm:spPr/>
    </dgm:pt>
  </dgm:ptLst>
  <dgm:cxnLst>
    <dgm:cxn modelId="{1A5E6963-BF8A-404E-9687-66A8E3818F48}" srcId="{50E8A930-FB3A-4EA2-9C07-B8C984D3F2A6}" destId="{6935A248-32F1-4F45-B825-D1B9FEE136E4}" srcOrd="0" destOrd="0" parTransId="{46BE2240-E8F2-40AF-84C0-54BE3D13AEF7}" sibTransId="{0C91000A-14B0-4D70-A9F1-27490F8ECD89}"/>
    <dgm:cxn modelId="{9CCCC949-21F5-468A-A9CE-119FF6A35072}" srcId="{50E8A930-FB3A-4EA2-9C07-B8C984D3F2A6}" destId="{77FB6DC4-EB13-4CDB-8642-668225F946FE}" srcOrd="2" destOrd="0" parTransId="{338D8C79-FC14-4DDC-BAEB-6A62987FF6B6}" sibTransId="{3A834B7F-9D19-4559-BBA6-8385162B3441}"/>
    <dgm:cxn modelId="{23DDA86C-A81B-4B5D-A74E-E6C0ACC74E0D}" type="presOf" srcId="{50E8A930-FB3A-4EA2-9C07-B8C984D3F2A6}" destId="{E0971990-6066-4632-857C-10FCABD4CAB9}" srcOrd="0" destOrd="0" presId="urn:microsoft.com/office/officeart/2009/3/layout/StepUpProcess"/>
    <dgm:cxn modelId="{B0948573-6B61-4D17-8A6D-5F8A1CBE9D6F}" srcId="{50E8A930-FB3A-4EA2-9C07-B8C984D3F2A6}" destId="{7C95C3C1-573E-4085-A804-2F0352B15048}" srcOrd="1" destOrd="0" parTransId="{8DA0444D-750D-4DBA-AC91-57A9FE133D5B}" sibTransId="{8CAF7733-F864-44BA-9A55-FF3A571820F9}"/>
    <dgm:cxn modelId="{9BC8C95A-7991-4AA3-95D7-6C241ACFB401}" type="presOf" srcId="{6935A248-32F1-4F45-B825-D1B9FEE136E4}" destId="{8C16AB36-B2B1-47D8-9BF7-132CFD422BE0}" srcOrd="0" destOrd="0" presId="urn:microsoft.com/office/officeart/2009/3/layout/StepUpProcess"/>
    <dgm:cxn modelId="{ED9B92F8-673B-4034-8C30-2A9006746D43}" type="presOf" srcId="{7C95C3C1-573E-4085-A804-2F0352B15048}" destId="{9BD4CDB9-CD9E-4B6A-B58E-67CC2537C625}" srcOrd="0" destOrd="0" presId="urn:microsoft.com/office/officeart/2009/3/layout/StepUpProcess"/>
    <dgm:cxn modelId="{F94A61FC-95FD-4A3B-8BBB-F66AB48B51FC}" type="presOf" srcId="{77FB6DC4-EB13-4CDB-8642-668225F946FE}" destId="{9A73F6E9-07EE-4C81-AC66-E65E4973CF7C}" srcOrd="0" destOrd="0" presId="urn:microsoft.com/office/officeart/2009/3/layout/StepUpProcess"/>
    <dgm:cxn modelId="{DF3F1B87-CB0C-4884-BFE9-12DD127393E2}" type="presParOf" srcId="{E0971990-6066-4632-857C-10FCABD4CAB9}" destId="{A97FDC9C-C2CB-408D-9C75-68D1D8DFC76B}" srcOrd="0" destOrd="0" presId="urn:microsoft.com/office/officeart/2009/3/layout/StepUpProcess"/>
    <dgm:cxn modelId="{EB6DE66D-482E-4DE1-9D0F-7EDDF3D6C3AD}" type="presParOf" srcId="{A97FDC9C-C2CB-408D-9C75-68D1D8DFC76B}" destId="{6A029AE2-736E-4322-9DBE-3568D95A50D4}" srcOrd="0" destOrd="0" presId="urn:microsoft.com/office/officeart/2009/3/layout/StepUpProcess"/>
    <dgm:cxn modelId="{908B35DB-E8BC-4001-91AF-CB83AADD79C0}" type="presParOf" srcId="{A97FDC9C-C2CB-408D-9C75-68D1D8DFC76B}" destId="{8C16AB36-B2B1-47D8-9BF7-132CFD422BE0}" srcOrd="1" destOrd="0" presId="urn:microsoft.com/office/officeart/2009/3/layout/StepUpProcess"/>
    <dgm:cxn modelId="{5F429DC7-8FD7-4259-9190-9E9F37BDE713}" type="presParOf" srcId="{A97FDC9C-C2CB-408D-9C75-68D1D8DFC76B}" destId="{3758892B-D7D3-41CF-ADD1-165946E8574E}" srcOrd="2" destOrd="0" presId="urn:microsoft.com/office/officeart/2009/3/layout/StepUpProcess"/>
    <dgm:cxn modelId="{E4198161-1D9E-45B9-A084-6F343597FB20}" type="presParOf" srcId="{E0971990-6066-4632-857C-10FCABD4CAB9}" destId="{1DE99A5F-7F40-4910-B618-C38BFC14D384}" srcOrd="1" destOrd="0" presId="urn:microsoft.com/office/officeart/2009/3/layout/StepUpProcess"/>
    <dgm:cxn modelId="{5B42D4DA-3538-47C3-9975-92E8A3024D40}" type="presParOf" srcId="{1DE99A5F-7F40-4910-B618-C38BFC14D384}" destId="{A97466F2-7A5C-4776-A44C-5F2365593E5B}" srcOrd="0" destOrd="0" presId="urn:microsoft.com/office/officeart/2009/3/layout/StepUpProcess"/>
    <dgm:cxn modelId="{E6A558A6-3294-4FB2-9DF0-C85C2E39E789}" type="presParOf" srcId="{E0971990-6066-4632-857C-10FCABD4CAB9}" destId="{998CA4FD-8F27-4179-AA95-97377DB76299}" srcOrd="2" destOrd="0" presId="urn:microsoft.com/office/officeart/2009/3/layout/StepUpProcess"/>
    <dgm:cxn modelId="{E2826B56-1666-496D-A6F6-8304A9E2A0AC}" type="presParOf" srcId="{998CA4FD-8F27-4179-AA95-97377DB76299}" destId="{21154D61-1593-4B87-8DFF-CF1738548075}" srcOrd="0" destOrd="0" presId="urn:microsoft.com/office/officeart/2009/3/layout/StepUpProcess"/>
    <dgm:cxn modelId="{DD59924C-BA56-46DC-A293-ECA88E8F4743}" type="presParOf" srcId="{998CA4FD-8F27-4179-AA95-97377DB76299}" destId="{9BD4CDB9-CD9E-4B6A-B58E-67CC2537C625}" srcOrd="1" destOrd="0" presId="urn:microsoft.com/office/officeart/2009/3/layout/StepUpProcess"/>
    <dgm:cxn modelId="{DECD1449-06DC-40B0-B6C6-281516935EB6}" type="presParOf" srcId="{998CA4FD-8F27-4179-AA95-97377DB76299}" destId="{104B49CD-12F5-4E33-8917-CBD52D5DE932}" srcOrd="2" destOrd="0" presId="urn:microsoft.com/office/officeart/2009/3/layout/StepUpProcess"/>
    <dgm:cxn modelId="{477803E7-D608-4102-93FC-B03934995C21}" type="presParOf" srcId="{E0971990-6066-4632-857C-10FCABD4CAB9}" destId="{C21C44BF-867C-4DE2-A855-6B2B7642F474}" srcOrd="3" destOrd="0" presId="urn:microsoft.com/office/officeart/2009/3/layout/StepUpProcess"/>
    <dgm:cxn modelId="{71870169-3453-4A72-993D-D7029DFCD6C4}" type="presParOf" srcId="{C21C44BF-867C-4DE2-A855-6B2B7642F474}" destId="{00A97B43-3F63-4BFC-AF4B-D850D139B6C9}" srcOrd="0" destOrd="0" presId="urn:microsoft.com/office/officeart/2009/3/layout/StepUpProcess"/>
    <dgm:cxn modelId="{CFF02214-268B-4CDC-818B-65740F3FDEEB}" type="presParOf" srcId="{E0971990-6066-4632-857C-10FCABD4CAB9}" destId="{FD310BC4-55F0-4790-B31F-9126D94C0FE2}" srcOrd="4" destOrd="0" presId="urn:microsoft.com/office/officeart/2009/3/layout/StepUpProcess"/>
    <dgm:cxn modelId="{02FF0D60-B375-4B96-B704-FA53C81EE2C8}" type="presParOf" srcId="{FD310BC4-55F0-4790-B31F-9126D94C0FE2}" destId="{BEA3AFA4-2126-4150-80D1-D0FF0ABF02A4}" srcOrd="0" destOrd="0" presId="urn:microsoft.com/office/officeart/2009/3/layout/StepUpProcess"/>
    <dgm:cxn modelId="{F9FDC612-39A0-4CEC-817B-D8622F244D28}" type="presParOf" srcId="{FD310BC4-55F0-4790-B31F-9126D94C0FE2}" destId="{9A73F6E9-07EE-4C81-AC66-E65E4973CF7C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029AE2-736E-4322-9DBE-3568D95A50D4}">
      <dsp:nvSpPr>
        <dsp:cNvPr id="0" name=""/>
        <dsp:cNvSpPr/>
      </dsp:nvSpPr>
      <dsp:spPr>
        <a:xfrm rot="5400000">
          <a:off x="768763" y="1267872"/>
          <a:ext cx="2068283" cy="3441577"/>
        </a:xfrm>
        <a:prstGeom prst="corner">
          <a:avLst>
            <a:gd name="adj1" fmla="val 16120"/>
            <a:gd name="adj2" fmla="val 16110"/>
          </a:avLst>
        </a:prstGeom>
        <a:solidFill>
          <a:srgbClr val="FF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16AB36-B2B1-47D8-9BF7-132CFD422BE0}">
      <dsp:nvSpPr>
        <dsp:cNvPr id="0" name=""/>
        <dsp:cNvSpPr/>
      </dsp:nvSpPr>
      <dsp:spPr>
        <a:xfrm>
          <a:off x="412026" y="2294719"/>
          <a:ext cx="2998017" cy="23835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FOT Export line sabotag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TRP leak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1-0-1 &amp; Must Wi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Safety Leadership/Boos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>
        <a:off x="412026" y="2294719"/>
        <a:ext cx="2998017" cy="2383527"/>
      </dsp:txXfrm>
    </dsp:sp>
    <dsp:sp modelId="{3758892B-D7D3-41CF-ADD1-165946E8574E}">
      <dsp:nvSpPr>
        <dsp:cNvPr id="0" name=""/>
        <dsp:cNvSpPr/>
      </dsp:nvSpPr>
      <dsp:spPr>
        <a:xfrm>
          <a:off x="2982792" y="943061"/>
          <a:ext cx="586240" cy="586240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154D61-1593-4B87-8DFF-CF1738548075}">
      <dsp:nvSpPr>
        <dsp:cNvPr id="0" name=""/>
        <dsp:cNvSpPr/>
      </dsp:nvSpPr>
      <dsp:spPr>
        <a:xfrm rot="5400000">
          <a:off x="4610872" y="255212"/>
          <a:ext cx="2068283" cy="344157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D4CDB9-CD9E-4B6A-B58E-67CC2537C625}">
      <dsp:nvSpPr>
        <dsp:cNvPr id="0" name=""/>
        <dsp:cNvSpPr/>
      </dsp:nvSpPr>
      <dsp:spPr>
        <a:xfrm>
          <a:off x="4223399" y="1268932"/>
          <a:ext cx="3644910" cy="27235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1-0-1 &amp; Must Wi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Back to Basic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Bad Actor &amp; Vulnerabiliti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Task Zero / </a:t>
          </a:r>
          <a:r>
            <a:rPr lang="en-US" sz="1800" kern="1200" dirty="0">
              <a:solidFill>
                <a:srgbClr val="FF0000"/>
              </a:solidFill>
            </a:rPr>
            <a:t>TRP /TEP leak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Projects - FYIP/SSAGS/ESCB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EA FOD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</a:t>
          </a:r>
          <a:r>
            <a:rPr lang="en-US" sz="1800" kern="1200" dirty="0">
              <a:solidFill>
                <a:srgbClr val="FF0000"/>
              </a:solidFill>
            </a:rPr>
            <a:t>Corrosion Mgt. – Estuary B/Lin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</a:rPr>
            <a:t>- 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Well Integrity (Red Wells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 EA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Symp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leg repair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12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Forcados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W/o well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- </a:t>
          </a:r>
          <a:r>
            <a:rPr lang="en-US" sz="1800" kern="1200" dirty="0" err="1">
              <a:solidFill>
                <a:srgbClr val="FF0000"/>
              </a:solidFill>
              <a:latin typeface="Futura Medium"/>
              <a:ea typeface="+mn-ea"/>
              <a:cs typeface="+mn-cs"/>
            </a:rPr>
            <a:t>Otumara</a:t>
          </a:r>
          <a:r>
            <a:rPr lang="en-US" sz="1800" kern="1200" dirty="0">
              <a:solidFill>
                <a:srgbClr val="FF0000"/>
              </a:solidFill>
              <a:latin typeface="Futura Medium"/>
              <a:ea typeface="+mn-ea"/>
              <a:cs typeface="+mn-cs"/>
            </a:rPr>
            <a:t> Compressor Reliability</a:t>
          </a:r>
        </a:p>
      </dsp:txBody>
      <dsp:txXfrm>
        <a:off x="4223399" y="1268932"/>
        <a:ext cx="3644910" cy="2723533"/>
      </dsp:txXfrm>
    </dsp:sp>
    <dsp:sp modelId="{104B49CD-12F5-4E33-8917-CBD52D5DE932}">
      <dsp:nvSpPr>
        <dsp:cNvPr id="0" name=""/>
        <dsp:cNvSpPr/>
      </dsp:nvSpPr>
      <dsp:spPr>
        <a:xfrm>
          <a:off x="6786459" y="1839"/>
          <a:ext cx="586240" cy="586240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A3AFA4-2126-4150-80D1-D0FF0ABF02A4}">
      <dsp:nvSpPr>
        <dsp:cNvPr id="0" name=""/>
        <dsp:cNvSpPr/>
      </dsp:nvSpPr>
      <dsp:spPr>
        <a:xfrm rot="5400000">
          <a:off x="8414540" y="-666426"/>
          <a:ext cx="2068283" cy="3441577"/>
        </a:xfrm>
        <a:prstGeom prst="corner">
          <a:avLst>
            <a:gd name="adj1" fmla="val 16120"/>
            <a:gd name="adj2" fmla="val 16110"/>
          </a:avLst>
        </a:prstGeom>
        <a:solidFill>
          <a:srgbClr val="FF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73F6E9-07EE-4C81-AC66-E65E4973CF7C}">
      <dsp:nvSpPr>
        <dsp:cNvPr id="0" name=""/>
        <dsp:cNvSpPr/>
      </dsp:nvSpPr>
      <dsp:spPr>
        <a:xfrm>
          <a:off x="8009543" y="386865"/>
          <a:ext cx="3372109" cy="26843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1-0-1 &amp; Must Wi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TRP Availability/Task Zero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FYIP Step 1C (12) Well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SSAGS step 2 (6 </a:t>
          </a:r>
          <a:r>
            <a:rPr lang="en-US" sz="1800" kern="1200" dirty="0" err="1"/>
            <a:t>Tunu</a:t>
          </a:r>
          <a:r>
            <a:rPr lang="en-US" sz="1800" kern="1200" dirty="0"/>
            <a:t>) Well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FYIP/SSAGS/ESCB-NGC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EA FOD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Firm </a:t>
          </a:r>
          <a:r>
            <a:rPr lang="en-US" sz="1800" kern="1200" dirty="0" err="1"/>
            <a:t>Domgas</a:t>
          </a:r>
          <a:r>
            <a:rPr lang="en-US" sz="1800" kern="1200" dirty="0"/>
            <a:t> sales agreemen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</a:t>
          </a:r>
          <a:r>
            <a:rPr lang="en-US" sz="1800" kern="1200" dirty="0" err="1"/>
            <a:t>Otumara</a:t>
          </a:r>
          <a:r>
            <a:rPr lang="en-US" sz="1800" kern="1200" dirty="0"/>
            <a:t> Opt./</a:t>
          </a:r>
          <a:r>
            <a:rPr lang="en-US" sz="1800" kern="1200" dirty="0" err="1"/>
            <a:t>Compr</a:t>
          </a:r>
          <a:r>
            <a:rPr lang="en-US" sz="1800" kern="1200" dirty="0"/>
            <a:t>. </a:t>
          </a:r>
          <a:r>
            <a:rPr lang="en-US" sz="1800" kern="1200" dirty="0" err="1"/>
            <a:t>Reliab</a:t>
          </a:r>
          <a:r>
            <a:rPr lang="en-US" sz="1800" kern="1200" dirty="0"/>
            <a:t>.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Sand Managemen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Corrosion Managemen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Well Integrity (Red Wells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FOT power supply to N/Bank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- HA/HI – Post DG3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>
        <a:off x="8009543" y="386865"/>
        <a:ext cx="3372109" cy="26843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19/12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19/12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605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60388" y="877888"/>
            <a:ext cx="7797801" cy="438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203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60388" y="877888"/>
            <a:ext cx="7797801" cy="438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6893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125" y="757238"/>
            <a:ext cx="6726238" cy="3784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453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0555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1" name="Rectangle 20" descr="&lt;Shell Yellow Bar&gt;" title="&lt;Shell Yellow Bar&gt;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199" y="954000"/>
            <a:ext cx="9147700" cy="918000"/>
          </a:xfrm>
          <a:noFill/>
          <a:ln>
            <a:noFill/>
          </a:ln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 algn="l" defTabSz="1219170" rtl="0" eaLnBrk="1" latinLnBrk="0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199" y="3317925"/>
            <a:ext cx="9147700" cy="748800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0" y="4585016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0" y="4838620"/>
            <a:ext cx="7810528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11690373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672001" y="6150324"/>
            <a:ext cx="10824855" cy="147993"/>
          </a:xfrm>
        </p:spPr>
        <p:txBody>
          <a:bodyPr wrap="square">
            <a:noAutofit/>
          </a:bodyPr>
          <a:lstStyle>
            <a:lvl1pPr>
              <a:defRPr sz="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2932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672001" y="4267484"/>
            <a:ext cx="5209337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672001" y="3932521"/>
            <a:ext cx="5209337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 flipV="1">
            <a:off x="672001" y="4209292"/>
            <a:ext cx="5209337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672001" y="4524140"/>
            <a:ext cx="5209337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672001" y="6032737"/>
            <a:ext cx="5209337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672001" y="1905335"/>
            <a:ext cx="5209337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672001" y="1570372"/>
            <a:ext cx="5209337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 flipV="1">
            <a:off x="672001" y="1847143"/>
            <a:ext cx="5209337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672001" y="2161991"/>
            <a:ext cx="5209337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>
            <a:off x="672001" y="3670588"/>
            <a:ext cx="5209337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87740" y="4267484"/>
            <a:ext cx="523116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87740" y="3932521"/>
            <a:ext cx="523116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 flipV="1">
            <a:off x="6287740" y="4209292"/>
            <a:ext cx="523116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87740" y="4524140"/>
            <a:ext cx="5231161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>
            <a:off x="6287740" y="6032737"/>
            <a:ext cx="523116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87740" y="1905335"/>
            <a:ext cx="523116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87740" y="1570372"/>
            <a:ext cx="523116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 flipV="1">
            <a:off x="6287740" y="1847143"/>
            <a:ext cx="523116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87740" y="2161991"/>
            <a:ext cx="5231161" cy="1606497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287740" y="3670588"/>
            <a:ext cx="523116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3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364718050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2" y="4313785"/>
            <a:ext cx="12191999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015981" y="2638196"/>
            <a:ext cx="4887403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7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1015981" y="1699351"/>
            <a:ext cx="10502919" cy="82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800" b="0" cap="none" dirty="0" smtClean="0">
                <a:latin typeface="+mj-lt"/>
              </a:defRPr>
            </a:lvl1pPr>
          </a:lstStyle>
          <a:p>
            <a:pPr lvl="0" defTabSz="357708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88617" y="2638698"/>
            <a:ext cx="5216427" cy="22076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defRPr lang="en-GB" sz="17000" kern="10000" spc="-100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 algn="r" defTabSz="1219170">
              <a:lnSpc>
                <a:spcPct val="100000"/>
              </a:lnSpc>
              <a:buClr>
                <a:srgbClr val="DD1D21"/>
              </a:buClr>
              <a:tabLst>
                <a:tab pos="1081088" algn="l"/>
              </a:tabLst>
            </a:pPr>
            <a:r>
              <a:rPr lang="en-GB" dirty="0"/>
              <a:t>0.0</a:t>
            </a:r>
          </a:p>
        </p:txBody>
      </p:sp>
      <p:sp>
        <p:nvSpPr>
          <p:cNvPr id="12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20" name="Rectangle 19" descr="&lt;Shell Yellow Bar&gt;" title="&lt;Shell Yellow Bar&gt;"/>
          <p:cNvSpPr/>
          <p:nvPr userDrawn="1"/>
        </p:nvSpPr>
        <p:spPr bwMode="gray">
          <a:xfrm>
            <a:off x="1015981" y="1524000"/>
            <a:ext cx="1693312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TextBox 13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7178060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673099" y="3554414"/>
            <a:ext cx="9152468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 descr="&lt;Shell Yellow Bar&gt;" title="&lt;Shell Yellow Bar&gt;"/>
          <p:cNvSpPr/>
          <p:nvPr userDrawn="1"/>
        </p:nvSpPr>
        <p:spPr bwMode="gray">
          <a:xfrm>
            <a:off x="1001211" y="3829099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1" y="0"/>
            <a:ext cx="12200897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007533" y="4027623"/>
            <a:ext cx="8483600" cy="8640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pc="0" dirty="0">
                <a:cs typeface="Arial" pitchFamily="34" charset="0"/>
              </a:defRPr>
            </a:lvl1pPr>
          </a:lstStyle>
          <a:p>
            <a:pPr lvl="0" defTabSz="121917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007533" y="5096738"/>
            <a:ext cx="8483600" cy="7704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400" dirty="0"/>
            </a:lvl1pPr>
          </a:lstStyle>
          <a:p>
            <a:pPr lvl="0" defTabSz="357708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2" name="TextBox 11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48392682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4" pos="4484">
          <p15:clr>
            <a:srgbClr val="FBAE40"/>
          </p15:clr>
        </p15:guide>
        <p15:guide id="0" pos="47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0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309236595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0"/>
            <a:ext cx="12194383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73101" y="1492272"/>
            <a:ext cx="5230284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362210426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2" y="4313784"/>
            <a:ext cx="12191999" cy="2544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5903384" y="2831546"/>
            <a:ext cx="5690760" cy="1633939"/>
            <a:chOff x="6450013" y="2557463"/>
            <a:chExt cx="5197475" cy="1917700"/>
          </a:xfrm>
        </p:grpSpPr>
        <p:sp>
          <p:nvSpPr>
            <p:cNvPr id="26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7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  <p:sp>
        <p:nvSpPr>
          <p:cNvPr id="3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015981" y="1711397"/>
            <a:ext cx="10493664" cy="813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800" b="0" cap="none" baseline="0" dirty="0">
                <a:latin typeface="+mj-lt"/>
              </a:defRPr>
            </a:lvl1pPr>
          </a:lstStyle>
          <a:p>
            <a:pPr lvl="0" defTabSz="357708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2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015981" y="2638196"/>
            <a:ext cx="4477944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70">
              <a:lnSpc>
                <a:spcPct val="100000"/>
              </a:lnSpc>
            </a:pPr>
            <a:r>
              <a:rPr lang="en-GB" dirty="0"/>
              <a:t>Click to subtitle</a:t>
            </a:r>
          </a:p>
        </p:txBody>
      </p:sp>
      <p:sp>
        <p:nvSpPr>
          <p:cNvPr id="30" name="Rectangle 29" descr="&lt;Shell Yellow Bar&gt;" title="&lt;Shell Yellow Bar&gt;"/>
          <p:cNvSpPr/>
          <p:nvPr userDrawn="1"/>
        </p:nvSpPr>
        <p:spPr bwMode="gray">
          <a:xfrm>
            <a:off x="1015981" y="1524000"/>
            <a:ext cx="1693312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02669675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1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29252408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186" y="1280160"/>
            <a:ext cx="5733629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044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68018312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247517629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gray">
          <a:xfrm>
            <a:off x="1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2370681" y="761998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645968"/>
            <a:ext cx="2032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371200" y="955449"/>
            <a:ext cx="9148800" cy="9180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pc="0" dirty="0">
                <a:cs typeface="Arial" pitchFamily="34" charset="0"/>
              </a:defRPr>
            </a:lvl1pPr>
          </a:lstStyle>
          <a:p>
            <a:pPr lvl="0" defTabSz="1219170">
              <a:lnSpc>
                <a:spcPct val="11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71200" y="3044536"/>
            <a:ext cx="4389819" cy="1023464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371201" y="4586400"/>
            <a:ext cx="4407932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1201" y="4838400"/>
            <a:ext cx="4407932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7093527" y="2795155"/>
            <a:ext cx="4425373" cy="2904946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11192873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2" y="728663"/>
            <a:ext cx="10845799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9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39"/>
            <a:ext cx="5230284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379631743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12483022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37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>
            <a:lvl1pPr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buSzPct val="75000"/>
              <a:buFontTx/>
              <a:buBlip>
                <a:blip r:embed="rId2"/>
              </a:buBlip>
              <a:defRPr/>
            </a:lvl1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11239500" y="6550026"/>
            <a:ext cx="355600" cy="1698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  <a:latin typeface="Futura Medium" pitchFamily="2" charset="0"/>
              </a:defRPr>
            </a:lvl1pPr>
          </a:lstStyle>
          <a:p>
            <a:pPr>
              <a:defRPr/>
            </a:pPr>
            <a:fld id="{2539CCC2-18C1-4C68-82E2-AF042C3140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89324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3375145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revelwallpapers.net/d/736143476D337A45314E584B6870575531573934314D6E667974436264513D3D/ambitio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749" y="-14605"/>
            <a:ext cx="12244749" cy="6872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AutoShape 2" descr="Image result for biting the bullet"/>
          <p:cNvSpPr>
            <a:spLocks noChangeAspect="1" noChangeArrowheads="1"/>
          </p:cNvSpPr>
          <p:nvPr/>
        </p:nvSpPr>
        <p:spPr bwMode="auto">
          <a:xfrm>
            <a:off x="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AutoShape 4" descr="Image result for biting the bullet"/>
          <p:cNvSpPr>
            <a:spLocks noChangeAspect="1" noChangeArrowheads="1"/>
          </p:cNvSpPr>
          <p:nvPr/>
        </p:nvSpPr>
        <p:spPr bwMode="auto">
          <a:xfrm>
            <a:off x="1524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AutoShape 6" descr="Image result for biting the bullet"/>
          <p:cNvSpPr>
            <a:spLocks noChangeAspect="1" noChangeArrowheads="1"/>
          </p:cNvSpPr>
          <p:nvPr/>
        </p:nvSpPr>
        <p:spPr bwMode="auto">
          <a:xfrm>
            <a:off x="30480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" name="AutoShape 8" descr="Image result for biting the bullet"/>
          <p:cNvSpPr>
            <a:spLocks noChangeAspect="1" noChangeArrowheads="1"/>
          </p:cNvSpPr>
          <p:nvPr/>
        </p:nvSpPr>
        <p:spPr bwMode="auto">
          <a:xfrm>
            <a:off x="45720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AutoShape 10" descr="Image result for biting the bullet"/>
          <p:cNvSpPr>
            <a:spLocks noChangeAspect="1" noChangeArrowheads="1"/>
          </p:cNvSpPr>
          <p:nvPr/>
        </p:nvSpPr>
        <p:spPr bwMode="auto">
          <a:xfrm>
            <a:off x="609600" y="473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2175500" y="381870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7" name="Picture 16" descr="PECTE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44114" y="3678108"/>
            <a:ext cx="1465237" cy="1465237"/>
          </a:xfrm>
          <a:prstGeom prst="rect">
            <a:avLst/>
          </a:prstGeom>
        </p:spPr>
      </p:pic>
      <p:sp>
        <p:nvSpPr>
          <p:cNvPr id="2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</p:spTree>
    <p:extLst>
      <p:ext uri="{BB962C8B-B14F-4D97-AF65-F5344CB8AC3E}">
        <p14:creationId xmlns:p14="http://schemas.microsoft.com/office/powerpoint/2010/main" val="166536643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92375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4" name="AutoShape 2" descr="Image result for biting the bullet"/>
          <p:cNvSpPr>
            <a:spLocks noChangeAspect="1" noChangeArrowheads="1"/>
          </p:cNvSpPr>
          <p:nvPr/>
        </p:nvSpPr>
        <p:spPr bwMode="auto">
          <a:xfrm>
            <a:off x="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AutoShape 4" descr="Image result for biting the bullet"/>
          <p:cNvSpPr>
            <a:spLocks noChangeAspect="1" noChangeArrowheads="1"/>
          </p:cNvSpPr>
          <p:nvPr/>
        </p:nvSpPr>
        <p:spPr bwMode="auto">
          <a:xfrm>
            <a:off x="1524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57021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41040541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1026F0-F331-469D-A86E-404B5D48A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1026F0-F331-469D-A86E-404B5D48A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53602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08557699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673099" y="3554414"/>
            <a:ext cx="9152468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 descr="&lt;Shell Yellow Bar&gt;" title="&lt;Shell Yellow Bar&gt;"/>
          <p:cNvSpPr/>
          <p:nvPr userDrawn="1"/>
        </p:nvSpPr>
        <p:spPr bwMode="gray">
          <a:xfrm>
            <a:off x="2443068" y="3829099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34" name="Picture 33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4554" y="3688500"/>
            <a:ext cx="1953649" cy="1465237"/>
          </a:xfrm>
          <a:prstGeom prst="rect">
            <a:avLst/>
          </a:prstGeom>
        </p:spPr>
      </p:pic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1" y="0"/>
            <a:ext cx="12200897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449391" y="4027623"/>
            <a:ext cx="7041743" cy="835200"/>
          </a:xfrm>
          <a:noFill/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449391" y="5096741"/>
            <a:ext cx="7041743" cy="365979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9391" y="5636735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9391" y="5892934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52404040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568">
          <p15:clr>
            <a:srgbClr val="FBAE40"/>
          </p15:clr>
        </p15:guide>
        <p15:guide id="4" pos="4484">
          <p15:clr>
            <a:srgbClr val="FBAE40"/>
          </p15:clr>
        </p15:guide>
        <p15:guide id="5" orient="horz" pos="2260">
          <p15:clr>
            <a:srgbClr val="FBAE40"/>
          </p15:clr>
        </p15:guide>
        <p15:guide id="6" orient="horz" pos="299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53217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74974696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9752992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06457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738288-919E-47C5-BA76-4A3D83F27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7738288-919E-47C5-BA76-4A3D83F27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8256042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568149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EBF46DF-994E-484F-8211-803C440AD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EBF46DF-994E-484F-8211-803C440AD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747629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5704538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989859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Box 8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4194714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534554" y="3554414"/>
            <a:ext cx="9291013" cy="2797175"/>
            <a:chOff x="400915" y="3554413"/>
            <a:chExt cx="6968260" cy="2797175"/>
          </a:xfrm>
        </p:grpSpPr>
        <p:sp>
          <p:nvSpPr>
            <p:cNvPr id="102" name="Rectangle 101"/>
            <p:cNvSpPr/>
            <p:nvPr userDrawn="1"/>
          </p:nvSpPr>
          <p:spPr bwMode="gray">
            <a:xfrm>
              <a:off x="504824" y="3554413"/>
              <a:ext cx="6864351" cy="2797175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103" name="Rectangle 102" descr="&lt;Shell Yellow Bar&gt;" title="&lt;Shell Yellow Bar&gt;"/>
            <p:cNvSpPr/>
            <p:nvPr userDrawn="1"/>
          </p:nvSpPr>
          <p:spPr bwMode="gray">
            <a:xfrm>
              <a:off x="1832301" y="3829099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schemeClr val="tx1"/>
                </a:solidFill>
              </a:endParaRPr>
            </a:p>
          </p:txBody>
        </p:sp>
        <p:pic>
          <p:nvPicPr>
            <p:cNvPr id="104" name="Picture 103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00915" y="3688499"/>
              <a:ext cx="1465237" cy="1465237"/>
            </a:xfrm>
            <a:prstGeom prst="rect">
              <a:avLst/>
            </a:prstGeom>
          </p:spPr>
        </p:pic>
      </p:grpSp>
      <p:sp>
        <p:nvSpPr>
          <p:cNvPr id="98" name="Picture Placeholder 2"/>
          <p:cNvSpPr>
            <a:spLocks noGrp="1"/>
          </p:cNvSpPr>
          <p:nvPr userDrawn="1">
            <p:ph type="pic" sz="quarter" idx="14"/>
          </p:nvPr>
        </p:nvSpPr>
        <p:spPr bwMode="auto">
          <a:xfrm>
            <a:off x="1" y="1"/>
            <a:ext cx="1221675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9398360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0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233916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10633 w 9185710"/>
              <a:gd name="connsiteY0" fmla="*/ 0 h 6857999"/>
              <a:gd name="connsiteX1" fmla="*/ 9164444 w 9185710"/>
              <a:gd name="connsiteY1" fmla="*/ 0 h 6857999"/>
              <a:gd name="connsiteX2" fmla="*/ 9185710 w 9185710"/>
              <a:gd name="connsiteY2" fmla="*/ 6857999 h 6857999"/>
              <a:gd name="connsiteX3" fmla="*/ 0 w 9185710"/>
              <a:gd name="connsiteY3" fmla="*/ 6857999 h 6857999"/>
              <a:gd name="connsiteX4" fmla="*/ 10633 w 9185710"/>
              <a:gd name="connsiteY4" fmla="*/ 0 h 6857999"/>
              <a:gd name="connsiteX5" fmla="*/ 519239 w 9185710"/>
              <a:gd name="connsiteY5" fmla="*/ 3560901 h 6857999"/>
              <a:gd name="connsiteX6" fmla="*/ 529997 w 9185710"/>
              <a:gd name="connsiteY6" fmla="*/ 6359075 h 6857999"/>
              <a:gd name="connsiteX7" fmla="*/ 7388247 w 9185710"/>
              <a:gd name="connsiteY7" fmla="*/ 6355342 h 6857999"/>
              <a:gd name="connsiteX8" fmla="*/ 7388687 w 9185710"/>
              <a:gd name="connsiteY8" fmla="*/ 3560901 h 6857999"/>
              <a:gd name="connsiteX9" fmla="*/ 519239 w 9185710"/>
              <a:gd name="connsiteY9" fmla="*/ 3560901 h 6857999"/>
              <a:gd name="connsiteX0" fmla="*/ 1023 w 9186733"/>
              <a:gd name="connsiteY0" fmla="*/ 0 h 6857999"/>
              <a:gd name="connsiteX1" fmla="*/ 9165467 w 9186733"/>
              <a:gd name="connsiteY1" fmla="*/ 0 h 6857999"/>
              <a:gd name="connsiteX2" fmla="*/ 9186733 w 9186733"/>
              <a:gd name="connsiteY2" fmla="*/ 6857999 h 6857999"/>
              <a:gd name="connsiteX3" fmla="*/ 1023 w 9186733"/>
              <a:gd name="connsiteY3" fmla="*/ 6857999 h 6857999"/>
              <a:gd name="connsiteX4" fmla="*/ 1023 w 9186733"/>
              <a:gd name="connsiteY4" fmla="*/ 0 h 6857999"/>
              <a:gd name="connsiteX5" fmla="*/ 520262 w 9186733"/>
              <a:gd name="connsiteY5" fmla="*/ 3560901 h 6857999"/>
              <a:gd name="connsiteX6" fmla="*/ 531020 w 9186733"/>
              <a:gd name="connsiteY6" fmla="*/ 6359075 h 6857999"/>
              <a:gd name="connsiteX7" fmla="*/ 7389270 w 9186733"/>
              <a:gd name="connsiteY7" fmla="*/ 6355342 h 6857999"/>
              <a:gd name="connsiteX8" fmla="*/ 7389710 w 9186733"/>
              <a:gd name="connsiteY8" fmla="*/ 3560901 h 6857999"/>
              <a:gd name="connsiteX9" fmla="*/ 520262 w 9186733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389710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405299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87015" h="6857999">
                <a:moveTo>
                  <a:pt x="1023" y="0"/>
                </a:moveTo>
                <a:lnTo>
                  <a:pt x="9184703" y="0"/>
                </a:lnTo>
                <a:cubicBezTo>
                  <a:pt x="9191792" y="2286000"/>
                  <a:pt x="9179644" y="4571999"/>
                  <a:pt x="9186733" y="6857999"/>
                </a:cubicBezTo>
                <a:lnTo>
                  <a:pt x="1023" y="6857999"/>
                </a:lnTo>
                <a:cubicBezTo>
                  <a:pt x="4567" y="4571999"/>
                  <a:pt x="-2521" y="2286000"/>
                  <a:pt x="1023" y="0"/>
                </a:cubicBezTo>
                <a:close/>
                <a:moveTo>
                  <a:pt x="520262" y="3560901"/>
                </a:moveTo>
                <a:lnTo>
                  <a:pt x="531020" y="6359075"/>
                </a:lnTo>
                <a:lnTo>
                  <a:pt x="7405299" y="6355342"/>
                </a:lnTo>
                <a:cubicBezTo>
                  <a:pt x="7401713" y="5510947"/>
                  <a:pt x="7409325" y="4405296"/>
                  <a:pt x="7405739" y="3560901"/>
                </a:cubicBezTo>
                <a:lnTo>
                  <a:pt x="520262" y="3560901"/>
                </a:ln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2449391" y="4028400"/>
            <a:ext cx="7041743" cy="835200"/>
          </a:xfrm>
          <a:noFill/>
        </p:spPr>
        <p:txBody>
          <a:bodyPr lIns="0" tIns="0" rIns="0" anchor="ctr" anchorCtr="0"/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449391" y="5096741"/>
            <a:ext cx="7041743" cy="365979"/>
          </a:xfrm>
        </p:spPr>
        <p:txBody>
          <a:bodyPr anchor="b" anchorCtr="0"/>
          <a:lstStyle>
            <a:lvl1pPr marL="0" indent="0" algn="l" defTabSz="35770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9391" y="5636735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9391" y="5892934"/>
            <a:ext cx="7041743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99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46050990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3" orient="horz" pos="4001">
          <p15:clr>
            <a:srgbClr val="FBAE40"/>
          </p15:clr>
        </p15:guide>
        <p15:guide id="4" pos="464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9435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44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8" y="6478120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20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E5F0A03B-E151-40DA-956A-ACBB63F83DDD}" type="datetime1">
              <a:rPr lang="en-US" smtClean="0"/>
              <a:t>12/19/2019</a:t>
            </a:fld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4" y="6478120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8751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2727" y="728663"/>
            <a:ext cx="10846173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14025221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5176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9108537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9160493"/>
              <a:gd name="connsiteY0" fmla="*/ 0 h 6857999"/>
              <a:gd name="connsiteX1" fmla="*/ 9108537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60493"/>
              <a:gd name="connsiteY0" fmla="*/ 0 h 6857999"/>
              <a:gd name="connsiteX1" fmla="*/ 9151400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54778" h="6857999">
                <a:moveTo>
                  <a:pt x="0" y="0"/>
                </a:moveTo>
                <a:lnTo>
                  <a:pt x="9151400" y="0"/>
                </a:lnTo>
                <a:lnTo>
                  <a:pt x="9154778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68022" y="508891"/>
                  <a:pt x="1769076" y="508490"/>
                </a:cubicBezTo>
                <a:cubicBezTo>
                  <a:pt x="1770130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2727" y="728663"/>
            <a:ext cx="10846173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154067912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73101" y="1557339"/>
            <a:ext cx="10845800" cy="4694237"/>
          </a:xfrm>
        </p:spPr>
        <p:txBody>
          <a:bodyPr/>
          <a:lstStyle>
            <a:lvl1pPr marL="0" indent="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 marL="176400" indent="-1764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302400" indent="-1512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478800" indent="-1764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30000" indent="-151200" defTabSz="26828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5pPr>
            <a:lvl6pPr marL="763200" indent="-133200" defTabSz="268288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71976239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2932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7" y="1557339"/>
            <a:ext cx="5230283" cy="469423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39"/>
            <a:ext cx="5230284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 marL="230400" indent="-230400">
              <a:defRPr lang="en-GB" dirty="0" smtClean="0"/>
            </a:lvl2pPr>
            <a:lvl3pPr marL="403200" indent="-201600">
              <a:defRPr lang="en-GB" dirty="0" smtClean="0"/>
            </a:lvl3pPr>
            <a:lvl4pPr marL="633600" indent="-230400">
              <a:defRPr lang="en-GB" dirty="0" smtClean="0"/>
            </a:lvl4pPr>
            <a:lvl5pPr marL="835200" indent="-201600">
              <a:defRPr lang="en-GB" dirty="0" smtClean="0"/>
            </a:lvl5pPr>
            <a:lvl6pPr marL="986400" indent="-151200"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47578371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3"/>
            <a:ext cx="1084580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17" y="1557339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1400" dirty="0" smtClean="0"/>
            </a:lvl1pPr>
            <a:lvl2pPr marL="176400" indent="-176400">
              <a:defRPr lang="en-US" sz="1400" dirty="0" smtClean="0"/>
            </a:lvl2pPr>
            <a:lvl3pPr marL="367200" indent="-151200">
              <a:defRPr lang="en-US" sz="1400" dirty="0" smtClean="0"/>
            </a:lvl3pPr>
            <a:lvl4pPr marL="586800" indent="-176400">
              <a:defRPr lang="en-US" sz="1400" dirty="0" smtClean="0"/>
            </a:lvl4pPr>
            <a:lvl5pPr marL="738000" indent="-151200">
              <a:defRPr lang="en-US" sz="1200" dirty="0" smtClean="0"/>
            </a:lvl5pPr>
            <a:lvl6pPr marL="878400" indent="-140400">
              <a:defRPr lang="en-US" sz="1100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0" y="1557339"/>
            <a:ext cx="5230285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400" dirty="0" smtClean="0"/>
            </a:lvl1pPr>
            <a:lvl2pPr marL="176400" indent="-176400">
              <a:defRPr lang="en-GB" sz="1400" dirty="0" smtClean="0"/>
            </a:lvl2pPr>
            <a:lvl3pPr marL="367200" indent="-151200">
              <a:defRPr lang="en-GB" sz="1400" dirty="0" smtClean="0"/>
            </a:lvl3pPr>
            <a:lvl4pPr marL="586800" indent="-176400">
              <a:defRPr lang="en-GB" sz="1400" dirty="0" smtClean="0"/>
            </a:lvl4pPr>
            <a:lvl5pPr marL="738000" indent="-151200">
              <a:defRPr lang="en-GB" sz="1200" dirty="0" smtClean="0"/>
            </a:lvl5pPr>
            <a:lvl6pPr marL="878400" indent="-140400">
              <a:defRPr lang="en-GB" sz="1100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</p:spTree>
    <p:extLst>
      <p:ext uri="{BB962C8B-B14F-4D97-AF65-F5344CB8AC3E}">
        <p14:creationId xmlns:p14="http://schemas.microsoft.com/office/powerpoint/2010/main" val="295343885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1556950"/>
            <a:ext cx="10845800" cy="4694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1" y="728664"/>
            <a:ext cx="10845801" cy="7556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8" name="Rectangle 67" descr="&lt;Shell Yellow Bar&gt;" title="&lt;Shell Yellow Bar&gt;"/>
          <p:cNvSpPr/>
          <p:nvPr/>
        </p:nvSpPr>
        <p:spPr bwMode="gray">
          <a:xfrm>
            <a:off x="677347" y="508000"/>
            <a:ext cx="1693312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69" name="Text Box 11" descr="&lt;COMPANY_NAME&gt;" title="&lt;COMPANY_NAME&gt;"/>
          <p:cNvSpPr txBox="1">
            <a:spLocks noChangeArrowheads="1"/>
          </p:cNvSpPr>
          <p:nvPr/>
        </p:nvSpPr>
        <p:spPr bwMode="auto">
          <a:xfrm>
            <a:off x="677186" y="6478119"/>
            <a:ext cx="3047405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The Shell Petroleum Development Company of Nigeria Ltd 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7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3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2017</a:t>
            </a:r>
            <a:endParaRPr lang="en-GB" dirty="0"/>
          </a:p>
        </p:txBody>
      </p:sp>
      <p:sp>
        <p:nvSpPr>
          <p:cNvPr id="7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1" y="6478119"/>
            <a:ext cx="440088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UPO/G/DNC</a:t>
            </a:r>
          </a:p>
        </p:txBody>
      </p:sp>
      <p:sp>
        <p:nvSpPr>
          <p:cNvPr id="9" name="TextBox 8" descr="CONFIDENTIAL_TAG_0xFFEE"/>
          <p:cNvSpPr txBox="1"/>
          <p:nvPr/>
        </p:nvSpPr>
        <p:spPr bwMode="auto">
          <a:xfrm>
            <a:off x="8209062" y="6480472"/>
            <a:ext cx="143933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36103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GB" sz="2400" b="0" kern="1200" cap="none" baseline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26828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8">
          <p15:clr>
            <a:srgbClr val="F26B43"/>
          </p15:clr>
        </p15:guide>
        <p15:guide id="3" pos="2880">
          <p15:clr>
            <a:srgbClr val="F26B43"/>
          </p15:clr>
        </p15:guide>
        <p15:guide id="4" pos="5442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orient="horz" pos="459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981">
          <p15:clr>
            <a:srgbClr val="F26B43"/>
          </p15:clr>
        </p15:guide>
        <p15:guide id="10" orient="horz" pos="3938">
          <p15:clr>
            <a:srgbClr val="F26B43"/>
          </p15:clr>
        </p15:guide>
        <p15:guide id="11" orient="horz" pos="4078">
          <p15:clr>
            <a:srgbClr val="F26B43"/>
          </p15:clr>
        </p15:guide>
        <p15:guide id="12" orient="horz" pos="4229">
          <p15:clr>
            <a:srgbClr val="F26B43"/>
          </p15:clr>
        </p15:guide>
        <p15:guide id="13" pos="1111">
          <p15:clr>
            <a:srgbClr val="F26B43"/>
          </p15:clr>
        </p15:guide>
        <p15:guide id="14" pos="2971">
          <p15:clr>
            <a:srgbClr val="F26B43"/>
          </p15:clr>
        </p15:guide>
        <p15:guide id="15" pos="2789">
          <p15:clr>
            <a:srgbClr val="F26B43"/>
          </p15:clr>
        </p15:guide>
        <p15:guide id="16" orient="horz" pos="43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F4CE61-C6A3-42B3-9CDA-7DB88D61B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F4CE61-C6A3-42B3-9CDA-7DB88D61B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Box 8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527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</p:sldLayoutIdLst>
  <p:transition>
    <p:fade/>
  </p:transition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975F02-1677-4EB2-8ACA-52EF741396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D94A2D-1FE9-4DBD-B6A7-5A510C7CB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West’s Road to No.1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11B7957-22ED-48F0-92A4-5F0E3EEC21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FFFF"/>
                </a:solidFill>
              </a:rPr>
              <a:t>A tactical framework to deliver in 202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C65150-6360-4FA5-8310-7C6227CBBC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500" y="5667375"/>
            <a:ext cx="1948825" cy="236690"/>
          </a:xfrm>
        </p:spPr>
        <p:txBody>
          <a:bodyPr/>
          <a:lstStyle/>
          <a:p>
            <a:r>
              <a:rPr lang="en-US" dirty="0">
                <a:solidFill>
                  <a:srgbClr val="FFFF00"/>
                </a:solidFill>
              </a:rPr>
              <a:t>Meshach Maichib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C738EC-4FF2-4E8B-A484-F88E23832A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17257" y="6587999"/>
            <a:ext cx="1613839" cy="237600"/>
          </a:xfrm>
        </p:spPr>
        <p:txBody>
          <a:bodyPr/>
          <a:lstStyle/>
          <a:p>
            <a:r>
              <a:rPr lang="en-US" dirty="0">
                <a:solidFill>
                  <a:srgbClr val="FFFF00"/>
                </a:solidFill>
              </a:rPr>
              <a:t>December, 2019</a:t>
            </a:r>
          </a:p>
        </p:txBody>
      </p:sp>
    </p:spTree>
    <p:extLst>
      <p:ext uri="{BB962C8B-B14F-4D97-AF65-F5344CB8AC3E}">
        <p14:creationId xmlns:p14="http://schemas.microsoft.com/office/powerpoint/2010/main" val="57080196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5210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440CE4-A799-46D7-B598-779B36CCA0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1134486E-5DBC-4568-B561-F72EDFBBE085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12286061"/>
              </p:ext>
            </p:extLst>
          </p:nvPr>
        </p:nvGraphicFramePr>
        <p:xfrm>
          <a:off x="546369" y="972349"/>
          <a:ext cx="11429443" cy="47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46884EB-7E27-404E-B22D-5108F66B5DEA}"/>
              </a:ext>
            </a:extLst>
          </p:cNvPr>
          <p:cNvSpPr txBox="1"/>
          <p:nvPr/>
        </p:nvSpPr>
        <p:spPr bwMode="auto">
          <a:xfrm>
            <a:off x="5389057" y="1380690"/>
            <a:ext cx="1154162" cy="5422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defTabSz="357708">
              <a:lnSpc>
                <a:spcPct val="140000"/>
              </a:lnSpc>
              <a:buClr>
                <a:srgbClr val="DD1D21"/>
              </a:buClr>
              <a:buSzPct val="85000"/>
              <a:defRPr/>
            </a:pPr>
            <a:r>
              <a:rPr lang="en-US" sz="2800" b="1" dirty="0">
                <a:solidFill>
                  <a:srgbClr val="595959"/>
                </a:solidFill>
              </a:rPr>
              <a:t>“Reset”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811C56-3EE1-4174-A937-B1E5D1B176DF}"/>
              </a:ext>
            </a:extLst>
          </p:cNvPr>
          <p:cNvSpPr txBox="1"/>
          <p:nvPr/>
        </p:nvSpPr>
        <p:spPr bwMode="auto">
          <a:xfrm>
            <a:off x="1257627" y="2394378"/>
            <a:ext cx="1614929" cy="5422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“Survival”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14AC85-F30F-4079-B931-43EFEAFFB54E}"/>
              </a:ext>
            </a:extLst>
          </p:cNvPr>
          <p:cNvSpPr txBox="1"/>
          <p:nvPr/>
        </p:nvSpPr>
        <p:spPr bwMode="auto">
          <a:xfrm>
            <a:off x="9167094" y="448935"/>
            <a:ext cx="1224694" cy="5422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“Grow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A24B4F-E661-484B-9046-D01F6E24C1D4}"/>
              </a:ext>
            </a:extLst>
          </p:cNvPr>
          <p:cNvSpPr txBox="1"/>
          <p:nvPr/>
        </p:nvSpPr>
        <p:spPr bwMode="auto">
          <a:xfrm>
            <a:off x="1460310" y="2880945"/>
            <a:ext cx="1412246" cy="387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16 - 201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6C2E2E9-6EC8-47CC-BEA0-1B3EC1AB721B}"/>
              </a:ext>
            </a:extLst>
          </p:cNvPr>
          <p:cNvSpPr txBox="1"/>
          <p:nvPr/>
        </p:nvSpPr>
        <p:spPr bwMode="auto">
          <a:xfrm>
            <a:off x="5671185" y="1871359"/>
            <a:ext cx="589905" cy="387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1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FC381E-5886-4572-8B2B-AA5F9D7852C5}"/>
              </a:ext>
            </a:extLst>
          </p:cNvPr>
          <p:cNvSpPr txBox="1"/>
          <p:nvPr/>
        </p:nvSpPr>
        <p:spPr bwMode="auto">
          <a:xfrm>
            <a:off x="9410751" y="950366"/>
            <a:ext cx="737381" cy="387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20+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C6B8D46C-F8BD-414A-A9D5-F34927B8AE55}"/>
              </a:ext>
            </a:extLst>
          </p:cNvPr>
          <p:cNvSpPr/>
          <p:nvPr/>
        </p:nvSpPr>
        <p:spPr>
          <a:xfrm>
            <a:off x="590645" y="6178489"/>
            <a:ext cx="11010710" cy="299630"/>
          </a:xfrm>
          <a:prstGeom prst="chevron">
            <a:avLst>
              <a:gd name="adj" fmla="val 40000"/>
            </a:avLst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nablers : People, Integration, Performance Management &amp; Organizational Effectiveness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23D0AEA-0B8B-4963-B886-C892DA7DF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219" y="636570"/>
            <a:ext cx="11022400" cy="524416"/>
          </a:xfrm>
        </p:spPr>
        <p:txBody>
          <a:bodyPr/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ad to number1 – Delivering beyond the Base</a:t>
            </a:r>
            <a:b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E69B228-150A-4906-A4A6-9306D8255D1B}"/>
              </a:ext>
            </a:extLst>
          </p:cNvPr>
          <p:cNvSpPr/>
          <p:nvPr/>
        </p:nvSpPr>
        <p:spPr>
          <a:xfrm>
            <a:off x="10744200" y="-707"/>
            <a:ext cx="1444191" cy="38735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perform</a:t>
            </a:r>
          </a:p>
        </p:txBody>
      </p:sp>
    </p:spTree>
    <p:extLst>
      <p:ext uri="{BB962C8B-B14F-4D97-AF65-F5344CB8AC3E}">
        <p14:creationId xmlns:p14="http://schemas.microsoft.com/office/powerpoint/2010/main" val="276095107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BC24F5-F9C0-400F-A2D8-94B0683E29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133" y="1087139"/>
            <a:ext cx="11069944" cy="533071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625869" y="664947"/>
            <a:ext cx="11277597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Liquid Availability, IPSC and Production 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1" name="Date Placeholder 7"/>
          <p:cNvSpPr>
            <a:spLocks noGrp="1"/>
          </p:cNvSpPr>
          <p:nvPr>
            <p:ph type="dt" sz="half" idx="2"/>
          </p:nvPr>
        </p:nvSpPr>
        <p:spPr>
          <a:xfrm>
            <a:off x="9799105" y="6478119"/>
            <a:ext cx="1080000" cy="237744"/>
          </a:xfrm>
        </p:spPr>
        <p:txBody>
          <a:bodyPr/>
          <a:lstStyle/>
          <a:p>
            <a:fld id="{74C270E7-EB97-4EBB-AFDC-4FBBB9E652EB}" type="datetime3">
              <a:rPr lang="en-US" smtClean="0">
                <a:solidFill>
                  <a:srgbClr val="595959"/>
                </a:solidFill>
              </a:rPr>
              <a:pPr/>
              <a:t>19 December 2019</a:t>
            </a:fld>
            <a:endParaRPr lang="en-GB" dirty="0">
              <a:solidFill>
                <a:srgbClr val="595959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C92659D-FD80-4A77-965D-E986013F6933}"/>
              </a:ext>
            </a:extLst>
          </p:cNvPr>
          <p:cNvGrpSpPr/>
          <p:nvPr/>
        </p:nvGrpSpPr>
        <p:grpSpPr>
          <a:xfrm>
            <a:off x="2577739" y="1162901"/>
            <a:ext cx="8423408" cy="5254950"/>
            <a:chOff x="2577739" y="1162901"/>
            <a:chExt cx="8423408" cy="525495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671EA92-AF95-4F4D-96FF-7288ED32F52A}"/>
                </a:ext>
              </a:extLst>
            </p:cNvPr>
            <p:cNvGrpSpPr/>
            <p:nvPr/>
          </p:nvGrpSpPr>
          <p:grpSpPr>
            <a:xfrm>
              <a:off x="5155921" y="1162901"/>
              <a:ext cx="5845226" cy="5254950"/>
              <a:chOff x="5155921" y="1162901"/>
              <a:chExt cx="5845226" cy="525495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B6C38142-C0EA-4649-8A94-5467FE6B6F35}"/>
                  </a:ext>
                </a:extLst>
              </p:cNvPr>
              <p:cNvGrpSpPr/>
              <p:nvPr/>
            </p:nvGrpSpPr>
            <p:grpSpPr>
              <a:xfrm>
                <a:off x="7010399" y="3164644"/>
                <a:ext cx="3990748" cy="2048628"/>
                <a:chOff x="6964167" y="3873449"/>
                <a:chExt cx="3881688" cy="1797142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D0A7C229-B7AD-42AB-A947-51EA4CF5D276}"/>
                    </a:ext>
                  </a:extLst>
                </p:cNvPr>
                <p:cNvSpPr txBox="1"/>
                <p:nvPr/>
              </p:nvSpPr>
              <p:spPr bwMode="auto">
                <a:xfrm>
                  <a:off x="8284642" y="3873449"/>
                  <a:ext cx="1230206" cy="204465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 extrusionH="50800" prstMaterial="translucentPowder">
                  <a:bevelB w="50800"/>
                </a:sp3d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</a:pPr>
                  <a:r>
                    <a:rPr lang="en-US" sz="1200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highlight>
                        <a:srgbClr val="00FFFF"/>
                      </a:highlight>
                    </a:rPr>
                    <a:t>Production scale-up</a:t>
                  </a:r>
                </a:p>
              </p:txBody>
            </p:sp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A7248EB3-613A-49E8-81DF-A119CC7BF703}"/>
                    </a:ext>
                  </a:extLst>
                </p:cNvPr>
                <p:cNvSpPr txBox="1"/>
                <p:nvPr/>
              </p:nvSpPr>
              <p:spPr bwMode="auto">
                <a:xfrm>
                  <a:off x="6964167" y="4105354"/>
                  <a:ext cx="3881688" cy="1565237"/>
                </a:xfrm>
                <a:prstGeom prst="rect">
                  <a:avLst/>
                </a:prstGeom>
                <a:noFill/>
                <a:ln w="28575" algn="ctr">
                  <a:solidFill>
                    <a:schemeClr val="accent4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</a:pPr>
                  <a:r>
                    <a:rPr lang="en-US" sz="1200" b="1" u="sng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 In 2020, we will;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Stabilize, attack bad actors &amp; add extra 10Kbopd 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Be more disciplined with plan interruptions / injections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Grow availability - West 10% and SPDC 3%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Leverage RF improvement &amp; optimization opportunities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Generate more FCF for the business</a:t>
                  </a:r>
                </a:p>
                <a:p>
                  <a:pPr marL="171450" indent="-171450" defTabSz="357708">
                    <a:lnSpc>
                      <a:spcPct val="140000"/>
                    </a:lnSpc>
                    <a:buClr>
                      <a:schemeClr val="accent2"/>
                    </a:buClr>
                    <a:buSzPct val="85000"/>
                    <a:buFont typeface="Wingdings" panose="05000000000000000000" pitchFamily="2" charset="2"/>
                    <a:buChar char="Ø"/>
                  </a:pPr>
                  <a:r>
                    <a:rPr lang="en-US" sz="1200" dirty="0">
                      <a:solidFill>
                        <a:srgbClr val="0070C0"/>
                      </a:solidFill>
                    </a:rPr>
                    <a:t>Deliver the above &amp; more; safely, responsibly and ethically. </a:t>
                  </a:r>
                </a:p>
              </p:txBody>
            </p:sp>
          </p:grp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6C09DB1-ADC0-4F34-93A8-0D83046A59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55921" y="1162901"/>
                <a:ext cx="0" cy="5254950"/>
              </a:xfrm>
              <a:prstGeom prst="line">
                <a:avLst/>
              </a:prstGeom>
              <a:ln w="50800" cmpd="sng">
                <a:solidFill>
                  <a:schemeClr val="accent4">
                    <a:lumMod val="40000"/>
                    <a:lumOff val="6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CFEEE6A-ABB0-49AD-A7B1-4B76908D715C}"/>
                </a:ext>
              </a:extLst>
            </p:cNvPr>
            <p:cNvSpPr txBox="1"/>
            <p:nvPr/>
          </p:nvSpPr>
          <p:spPr bwMode="auto">
            <a:xfrm>
              <a:off x="2577739" y="3343771"/>
              <a:ext cx="870431" cy="2330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prstMaterial="clear">
              <a:bevelT w="44450"/>
            </a:sp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357708">
                <a:lnSpc>
                  <a:spcPct val="140000"/>
                </a:lnSpc>
                <a:buClr>
                  <a:schemeClr val="accent2"/>
                </a:buClr>
                <a:buSzPct val="85000"/>
              </a:pPr>
              <a:r>
                <a: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highlight>
                    <a:srgbClr val="FFFF00"/>
                  </a:highlight>
                </a:rPr>
                <a:t>IPSC build up</a:t>
              </a:r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AF563B4-84B8-467A-BF35-A9F692B835FB}"/>
              </a:ext>
            </a:extLst>
          </p:cNvPr>
          <p:cNvSpPr/>
          <p:nvPr/>
        </p:nvSpPr>
        <p:spPr>
          <a:xfrm>
            <a:off x="10765536" y="-567"/>
            <a:ext cx="1426464" cy="34862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B0F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81FD1E-D2E2-439F-BCAB-53A4F1C9CB55}"/>
              </a:ext>
            </a:extLst>
          </p:cNvPr>
          <p:cNvSpPr/>
          <p:nvPr/>
        </p:nvSpPr>
        <p:spPr>
          <a:xfrm>
            <a:off x="0" y="-3641"/>
            <a:ext cx="1328250" cy="348622"/>
          </a:xfrm>
          <a:prstGeom prst="roundRect">
            <a:avLst/>
          </a:prstGeom>
          <a:solidFill>
            <a:srgbClr val="00B0F0"/>
          </a:solidFill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iplin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B733CB6-0D19-4881-8E7E-8149746D886E}"/>
              </a:ext>
            </a:extLst>
          </p:cNvPr>
          <p:cNvSpPr/>
          <p:nvPr/>
        </p:nvSpPr>
        <p:spPr>
          <a:xfrm>
            <a:off x="4512354" y="6428361"/>
            <a:ext cx="3401926" cy="298012"/>
          </a:xfrm>
          <a:prstGeom prst="roundRect">
            <a:avLst/>
          </a:prstGeom>
          <a:solidFill>
            <a:srgbClr val="027E78"/>
          </a:solidFill>
          <a:ln>
            <a:noFill/>
            <a:prstDash val="dash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h engine of the organiz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499EB8-B5A8-43B4-AF09-B568CF8F8E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133" y="6164118"/>
            <a:ext cx="1328250" cy="2537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5D92C93-D39A-49D7-BD33-C215598274E6}"/>
              </a:ext>
            </a:extLst>
          </p:cNvPr>
          <p:cNvSpPr txBox="1"/>
          <p:nvPr/>
        </p:nvSpPr>
        <p:spPr bwMode="auto">
          <a:xfrm>
            <a:off x="5555519" y="3022850"/>
            <a:ext cx="1147750" cy="12926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dirty="0"/>
              <a:t>Opening up of </a:t>
            </a:r>
          </a:p>
          <a:p>
            <a:pPr algn="ctr"/>
            <a:r>
              <a:rPr lang="en-US" sz="1200" b="1" dirty="0"/>
              <a:t>closed-in wells </a:t>
            </a:r>
          </a:p>
          <a:p>
            <a:pPr algn="ctr"/>
            <a:r>
              <a:rPr lang="en-US" sz="1200" b="1" dirty="0"/>
              <a:t>across the nodes </a:t>
            </a:r>
          </a:p>
          <a:p>
            <a:pPr algn="ctr"/>
            <a:r>
              <a:rPr lang="en-US" sz="1200" b="1" dirty="0"/>
              <a:t>plus </a:t>
            </a:r>
            <a:r>
              <a:rPr lang="en-US" sz="1200" b="1" dirty="0" err="1"/>
              <a:t>Tunu</a:t>
            </a:r>
            <a:r>
              <a:rPr lang="en-US" sz="1200" b="1" dirty="0"/>
              <a:t> </a:t>
            </a:r>
          </a:p>
          <a:p>
            <a:pPr algn="ctr"/>
            <a:r>
              <a:rPr lang="en-US" sz="1200" b="1" dirty="0"/>
              <a:t>Condensate </a:t>
            </a:r>
          </a:p>
          <a:p>
            <a:pPr algn="ctr"/>
            <a:r>
              <a:rPr lang="en-US" sz="1200" b="1" dirty="0"/>
              <a:t>ramp up</a:t>
            </a:r>
          </a:p>
          <a:p>
            <a:pPr algn="ctr"/>
            <a:r>
              <a:rPr lang="en-US" sz="12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095142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691134" y="664947"/>
            <a:ext cx="11500866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A tactical ramp up plan to </a:t>
            </a:r>
            <a:r>
              <a:rPr lang="en-US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0Kbopd (Option1) 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1" name="Date Placeholder 7"/>
          <p:cNvSpPr>
            <a:spLocks noGrp="1"/>
          </p:cNvSpPr>
          <p:nvPr>
            <p:ph type="dt" sz="half" idx="2"/>
          </p:nvPr>
        </p:nvSpPr>
        <p:spPr>
          <a:xfrm>
            <a:off x="9799105" y="6478119"/>
            <a:ext cx="1080000" cy="237744"/>
          </a:xfrm>
        </p:spPr>
        <p:txBody>
          <a:bodyPr/>
          <a:lstStyle/>
          <a:p>
            <a:fld id="{74C270E7-EB97-4EBB-AFDC-4FBBB9E652EB}" type="datetime3">
              <a:rPr lang="en-US" smtClean="0">
                <a:solidFill>
                  <a:srgbClr val="595959"/>
                </a:solidFill>
              </a:rPr>
              <a:pPr/>
              <a:t>19 December 2019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AF563B4-84B8-467A-BF35-A9F692B835FB}"/>
              </a:ext>
            </a:extLst>
          </p:cNvPr>
          <p:cNvSpPr/>
          <p:nvPr/>
        </p:nvSpPr>
        <p:spPr>
          <a:xfrm>
            <a:off x="0" y="10828"/>
            <a:ext cx="1426464" cy="34862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B0F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s Oil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81FD1E-D2E2-439F-BCAB-53A4F1C9CB55}"/>
              </a:ext>
            </a:extLst>
          </p:cNvPr>
          <p:cNvSpPr/>
          <p:nvPr/>
        </p:nvSpPr>
        <p:spPr>
          <a:xfrm>
            <a:off x="10763250" y="9663"/>
            <a:ext cx="1428750" cy="408103"/>
          </a:xfrm>
          <a:prstGeom prst="roundRect">
            <a:avLst/>
          </a:prstGeom>
          <a:solidFill>
            <a:srgbClr val="00B0F0"/>
          </a:solidFill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is Cash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B733CB6-0D19-4881-8E7E-8149746D886E}"/>
              </a:ext>
            </a:extLst>
          </p:cNvPr>
          <p:cNvSpPr/>
          <p:nvPr/>
        </p:nvSpPr>
        <p:spPr>
          <a:xfrm>
            <a:off x="4203734" y="6405435"/>
            <a:ext cx="3491607" cy="42963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S, CI, Digitalization &amp; Peop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04D757-814C-4109-8104-C833C791E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232" y="1104900"/>
            <a:ext cx="10991991" cy="53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64749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691134" y="664947"/>
            <a:ext cx="11500866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A tactical ramp up plan to </a:t>
            </a:r>
            <a:r>
              <a:rPr lang="en-US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0Kbopd (Option2)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1" name="Date Placeholder 7"/>
          <p:cNvSpPr>
            <a:spLocks noGrp="1"/>
          </p:cNvSpPr>
          <p:nvPr>
            <p:ph type="dt" sz="half" idx="2"/>
          </p:nvPr>
        </p:nvSpPr>
        <p:spPr>
          <a:xfrm>
            <a:off x="9799105" y="6478119"/>
            <a:ext cx="1080000" cy="237744"/>
          </a:xfrm>
        </p:spPr>
        <p:txBody>
          <a:bodyPr/>
          <a:lstStyle/>
          <a:p>
            <a:fld id="{74C270E7-EB97-4EBB-AFDC-4FBBB9E652EB}" type="datetime3">
              <a:rPr lang="en-US" smtClean="0">
                <a:solidFill>
                  <a:srgbClr val="595959"/>
                </a:solidFill>
              </a:rPr>
              <a:pPr/>
              <a:t>19 December 2019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AF563B4-84B8-467A-BF35-A9F692B835FB}"/>
              </a:ext>
            </a:extLst>
          </p:cNvPr>
          <p:cNvSpPr/>
          <p:nvPr/>
        </p:nvSpPr>
        <p:spPr>
          <a:xfrm>
            <a:off x="0" y="10828"/>
            <a:ext cx="1426464" cy="34862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B0F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s Oil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81FD1E-D2E2-439F-BCAB-53A4F1C9CB55}"/>
              </a:ext>
            </a:extLst>
          </p:cNvPr>
          <p:cNvSpPr/>
          <p:nvPr/>
        </p:nvSpPr>
        <p:spPr>
          <a:xfrm>
            <a:off x="10763250" y="9663"/>
            <a:ext cx="1428750" cy="408103"/>
          </a:xfrm>
          <a:prstGeom prst="roundRect">
            <a:avLst/>
          </a:prstGeom>
          <a:solidFill>
            <a:srgbClr val="00B0F0"/>
          </a:solidFill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is Cash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B733CB6-0D19-4881-8E7E-8149746D886E}"/>
              </a:ext>
            </a:extLst>
          </p:cNvPr>
          <p:cNvSpPr/>
          <p:nvPr/>
        </p:nvSpPr>
        <p:spPr>
          <a:xfrm>
            <a:off x="4203734" y="6405435"/>
            <a:ext cx="3491607" cy="42963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S, CI, Digitalization &amp; Peop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C97236-01B0-48A5-AD82-F6794D463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134" y="1085850"/>
            <a:ext cx="10809732" cy="539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82891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691134" y="664947"/>
            <a:ext cx="11500866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A tactical ramp up plan to </a:t>
            </a:r>
            <a:r>
              <a:rPr lang="en-US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5Kbopd (Option3)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1" name="Date Placeholder 7"/>
          <p:cNvSpPr>
            <a:spLocks noGrp="1"/>
          </p:cNvSpPr>
          <p:nvPr>
            <p:ph type="dt" sz="half" idx="2"/>
          </p:nvPr>
        </p:nvSpPr>
        <p:spPr>
          <a:xfrm>
            <a:off x="9799105" y="6478119"/>
            <a:ext cx="1080000" cy="237744"/>
          </a:xfrm>
        </p:spPr>
        <p:txBody>
          <a:bodyPr/>
          <a:lstStyle/>
          <a:p>
            <a:fld id="{74C270E7-EB97-4EBB-AFDC-4FBBB9E652EB}" type="datetime3">
              <a:rPr lang="en-US" smtClean="0">
                <a:solidFill>
                  <a:srgbClr val="595959"/>
                </a:solidFill>
              </a:rPr>
              <a:pPr/>
              <a:t>19 December 2019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AF563B4-84B8-467A-BF35-A9F692B835FB}"/>
              </a:ext>
            </a:extLst>
          </p:cNvPr>
          <p:cNvSpPr/>
          <p:nvPr/>
        </p:nvSpPr>
        <p:spPr>
          <a:xfrm>
            <a:off x="0" y="10828"/>
            <a:ext cx="1426464" cy="34862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B0F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s Oil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81FD1E-D2E2-439F-BCAB-53A4F1C9CB55}"/>
              </a:ext>
            </a:extLst>
          </p:cNvPr>
          <p:cNvSpPr/>
          <p:nvPr/>
        </p:nvSpPr>
        <p:spPr>
          <a:xfrm>
            <a:off x="10763250" y="9663"/>
            <a:ext cx="1428750" cy="408103"/>
          </a:xfrm>
          <a:prstGeom prst="roundRect">
            <a:avLst/>
          </a:prstGeom>
          <a:solidFill>
            <a:srgbClr val="00B0F0"/>
          </a:solidFill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is Cash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B733CB6-0D19-4881-8E7E-8149746D886E}"/>
              </a:ext>
            </a:extLst>
          </p:cNvPr>
          <p:cNvSpPr/>
          <p:nvPr/>
        </p:nvSpPr>
        <p:spPr>
          <a:xfrm>
            <a:off x="4203734" y="6405435"/>
            <a:ext cx="3491607" cy="42963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S, CI, Digitalization &amp; Peop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9381BF-4E5A-4DC7-9A34-D63A829FE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133" y="1152525"/>
            <a:ext cx="10834544" cy="5307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74809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6274" y="630621"/>
            <a:ext cx="11400112" cy="461585"/>
          </a:xfrm>
        </p:spPr>
        <p:txBody>
          <a:bodyPr/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Quarterly outlook &amp; key delivery levers </a:t>
            </a:r>
            <a:r>
              <a:rPr lang="en-US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170Kboepd)</a:t>
            </a:r>
            <a:endParaRPr lang="en-GB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0098D0B-A4B7-4AB2-9F38-F4BDF934BB76}"/>
              </a:ext>
            </a:extLst>
          </p:cNvPr>
          <p:cNvSpPr/>
          <p:nvPr/>
        </p:nvSpPr>
        <p:spPr>
          <a:xfrm>
            <a:off x="0" y="-12396"/>
            <a:ext cx="1776248" cy="37109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ountability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09D7F9C-4B37-4943-B171-00831D2844D5}"/>
              </a:ext>
            </a:extLst>
          </p:cNvPr>
          <p:cNvSpPr/>
          <p:nvPr/>
        </p:nvSpPr>
        <p:spPr>
          <a:xfrm>
            <a:off x="10765536" y="-12395"/>
            <a:ext cx="1426464" cy="348622"/>
          </a:xfrm>
          <a:prstGeom prst="roundRect">
            <a:avLst/>
          </a:prstGeom>
          <a:solidFill>
            <a:srgbClr val="00B0F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wnership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A706FA7-2217-462C-810C-836FFC6382F7}"/>
              </a:ext>
            </a:extLst>
          </p:cNvPr>
          <p:cNvSpPr/>
          <p:nvPr/>
        </p:nvSpPr>
        <p:spPr>
          <a:xfrm>
            <a:off x="4295552" y="6434400"/>
            <a:ext cx="3431128" cy="281463"/>
          </a:xfrm>
          <a:prstGeom prst="roundRect">
            <a:avLst/>
          </a:prstGeom>
          <a:solidFill>
            <a:srgbClr val="F25610"/>
          </a:solidFill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bilize - Simplify - Suppor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C1DC93-4F76-4BDD-8D15-F7F5A062EA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275" y="1088602"/>
            <a:ext cx="10954178" cy="534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4788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6274" y="702980"/>
            <a:ext cx="10388716" cy="389226"/>
          </a:xfrm>
        </p:spPr>
        <p:txBody>
          <a:bodyPr/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st in 2020 – Monthly Oil &amp; Gas split by PU </a:t>
            </a:r>
            <a:r>
              <a:rPr lang="en-US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170Kboepd)</a:t>
            </a:r>
            <a:endParaRPr lang="en-GB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A45C666-D1C2-4C5E-A7D9-76F41FF87D3E}"/>
              </a:ext>
            </a:extLst>
          </p:cNvPr>
          <p:cNvSpPr/>
          <p:nvPr/>
        </p:nvSpPr>
        <p:spPr>
          <a:xfrm>
            <a:off x="11295506" y="0"/>
            <a:ext cx="896112" cy="34862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ed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044F8D7-1B54-4E45-BA38-D0B1C6EF4DB6}"/>
              </a:ext>
            </a:extLst>
          </p:cNvPr>
          <p:cNvSpPr/>
          <p:nvPr/>
        </p:nvSpPr>
        <p:spPr>
          <a:xfrm>
            <a:off x="0" y="0"/>
            <a:ext cx="896112" cy="348622"/>
          </a:xfrm>
          <a:prstGeom prst="roundRect">
            <a:avLst/>
          </a:prstGeom>
          <a:solidFill>
            <a:srgbClr val="00B0F0"/>
          </a:solidFill>
          <a:ln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cu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EA90205-7D60-45E9-BB3F-CF9F3890502E}"/>
              </a:ext>
            </a:extLst>
          </p:cNvPr>
          <p:cNvSpPr/>
          <p:nvPr/>
        </p:nvSpPr>
        <p:spPr>
          <a:xfrm>
            <a:off x="3246120" y="6386769"/>
            <a:ext cx="5361853" cy="308546"/>
          </a:xfrm>
          <a:prstGeom prst="roundRect">
            <a:avLst/>
          </a:prstGeom>
          <a:solidFill>
            <a:srgbClr val="008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onstrate vulnerability, eliminate Bad actors &amp; 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rove</a:t>
            </a:r>
            <a:endParaRPr lang="en-US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FA8100-4883-4C6F-9AFA-B51ABE74E3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274" y="1171575"/>
            <a:ext cx="10975276" cy="5223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777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1"/>
          <p:cNvSpPr>
            <a:spLocks noGrp="1"/>
          </p:cNvSpPr>
          <p:nvPr>
            <p:ph type="title"/>
          </p:nvPr>
        </p:nvSpPr>
        <p:spPr>
          <a:xfrm>
            <a:off x="489709" y="110907"/>
            <a:ext cx="5606291" cy="338554"/>
          </a:xfrm>
        </p:spPr>
        <p:txBody>
          <a:bodyPr/>
          <a:lstStyle/>
          <a:p>
            <a: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“Must Wins” – SPDC WEST						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9FF205D-7E32-4284-B2B1-08C28739E043}"/>
              </a:ext>
            </a:extLst>
          </p:cNvPr>
          <p:cNvSpPr txBox="1">
            <a:spLocks/>
          </p:cNvSpPr>
          <p:nvPr/>
        </p:nvSpPr>
        <p:spPr bwMode="auto">
          <a:xfrm>
            <a:off x="529569" y="571904"/>
            <a:ext cx="11267861" cy="3177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74" b="0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j-ea"/>
                <a:cs typeface="Arial" panose="020B0604020202020204" pitchFamily="34" charset="0"/>
              </a:rPr>
              <a:t>	Achieving our Fit for the Future ambition “One team - Goal Zero - $1bn Cash”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EB0A4C3-A861-4058-9B95-57B0758FB25E}"/>
              </a:ext>
            </a:extLst>
          </p:cNvPr>
          <p:cNvGrpSpPr/>
          <p:nvPr/>
        </p:nvGrpSpPr>
        <p:grpSpPr>
          <a:xfrm>
            <a:off x="178599" y="876355"/>
            <a:ext cx="11848586" cy="4927544"/>
            <a:chOff x="138214" y="1038201"/>
            <a:chExt cx="11840190" cy="486375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ABAD1F4-FB76-49E0-AF29-4F6DD276B8A8}"/>
                </a:ext>
              </a:extLst>
            </p:cNvPr>
            <p:cNvGrpSpPr/>
            <p:nvPr/>
          </p:nvGrpSpPr>
          <p:grpSpPr>
            <a:xfrm>
              <a:off x="144669" y="1038201"/>
              <a:ext cx="11833735" cy="421213"/>
              <a:chOff x="144669" y="1100831"/>
              <a:chExt cx="11833735" cy="421213"/>
            </a:xfrm>
          </p:grpSpPr>
          <p:sp>
            <p:nvSpPr>
              <p:cNvPr id="32" name="AutoShape 8">
                <a:extLst>
                  <a:ext uri="{FF2B5EF4-FFF2-40B4-BE49-F238E27FC236}">
                    <a16:creationId xmlns:a16="http://schemas.microsoft.com/office/drawing/2014/main" id="{DD69F1DB-B3B3-4C17-90C9-F5A5D053DD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669" y="1100831"/>
                <a:ext cx="2328857" cy="400393"/>
              </a:xfrm>
              <a:prstGeom prst="chevron">
                <a:avLst>
                  <a:gd name="adj" fmla="val 33221"/>
                </a:avLst>
              </a:prstGeom>
              <a:solidFill>
                <a:srgbClr val="0070C0"/>
              </a:solidFill>
              <a:ln w="1270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GOAL ZERO</a:t>
                </a:r>
              </a:p>
            </p:txBody>
          </p:sp>
          <p:sp>
            <p:nvSpPr>
              <p:cNvPr id="33" name="AutoShape 8">
                <a:extLst>
                  <a:ext uri="{FF2B5EF4-FFF2-40B4-BE49-F238E27FC236}">
                    <a16:creationId xmlns:a16="http://schemas.microsoft.com/office/drawing/2014/main" id="{240624DA-E620-4776-AAAB-9CB5CDFABE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74196" y="1107981"/>
                <a:ext cx="2328857" cy="404879"/>
              </a:xfrm>
              <a:prstGeom prst="chevron">
                <a:avLst>
                  <a:gd name="adj" fmla="val 33221"/>
                </a:avLst>
              </a:prstGeom>
              <a:solidFill>
                <a:srgbClr val="FFC000"/>
              </a:solidFill>
              <a:ln w="1270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PRODUCTION</a:t>
                </a:r>
              </a:p>
            </p:txBody>
          </p:sp>
          <p:sp>
            <p:nvSpPr>
              <p:cNvPr id="50" name="AutoShape 8">
                <a:extLst>
                  <a:ext uri="{FF2B5EF4-FFF2-40B4-BE49-F238E27FC236}">
                    <a16:creationId xmlns:a16="http://schemas.microsoft.com/office/drawing/2014/main" id="{32A850C2-3E03-45E0-8FD8-6D150737E4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4798" y="1114060"/>
                <a:ext cx="5966650" cy="400393"/>
              </a:xfrm>
              <a:prstGeom prst="chevron">
                <a:avLst>
                  <a:gd name="adj" fmla="val 33221"/>
                </a:avLst>
              </a:prstGeom>
              <a:solidFill>
                <a:schemeClr val="accent5"/>
              </a:solidFill>
              <a:ln w="1270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GROWTH</a:t>
                </a:r>
              </a:p>
            </p:txBody>
          </p:sp>
          <p:sp>
            <p:nvSpPr>
              <p:cNvPr id="66" name="AutoShape 8">
                <a:extLst>
                  <a:ext uri="{FF2B5EF4-FFF2-40B4-BE49-F238E27FC236}">
                    <a16:creationId xmlns:a16="http://schemas.microsoft.com/office/drawing/2014/main" id="{7824DDF7-2A21-4BEA-8E48-CE6296A7D3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61954" y="1121652"/>
                <a:ext cx="1516450" cy="400392"/>
              </a:xfrm>
              <a:prstGeom prst="chevron">
                <a:avLst>
                  <a:gd name="adj" fmla="val 33221"/>
                </a:avLst>
              </a:prstGeom>
              <a:solidFill>
                <a:schemeClr val="tx2">
                  <a:lumMod val="75000"/>
                </a:schemeClr>
              </a:solidFill>
              <a:ln w="12700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CASH</a:t>
                </a:r>
              </a:p>
            </p:txBody>
          </p:sp>
        </p:grpSp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ED51D168-B5D8-4B53-9399-C40B5EB5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214" y="1493783"/>
              <a:ext cx="2129708" cy="4405724"/>
            </a:xfrm>
            <a:prstGeom prst="foldedCorner">
              <a:avLst>
                <a:gd name="adj" fmla="val 12500"/>
              </a:avLst>
            </a:prstGeom>
            <a:noFill/>
            <a:ln w="22225">
              <a:solidFill>
                <a:srgbClr val="0070C0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320040" rIns="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Zero Harm</a:t>
              </a: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Zero Leaks </a:t>
              </a: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Zero E&amp;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112713" lvl="0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300" dirty="0">
                  <a:solidFill>
                    <a:srgbClr val="404040"/>
                  </a:solidFill>
                  <a:latin typeface="Futura Medium"/>
                </a:rPr>
                <a:t>Asset integrity </a:t>
              </a:r>
            </a:p>
            <a:p>
              <a:pPr marL="334963" lvl="1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Zero Tier 1 &amp; 2</a:t>
              </a:r>
            </a:p>
            <a:p>
              <a:pPr marL="334963" lvl="1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Zero “high risk wells”</a:t>
              </a:r>
            </a:p>
            <a:p>
              <a:pPr marL="334963" lvl="1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Zero “Red Wells”</a:t>
              </a:r>
            </a:p>
            <a:p>
              <a:pPr marL="334963" lvl="1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Corrosion to “0.1”</a:t>
              </a:r>
            </a:p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tabLst/>
                <a:defRPr/>
              </a:pPr>
              <a:endParaRPr lang="en-GB" altLang="en-US" sz="400" dirty="0">
                <a:solidFill>
                  <a:srgbClr val="404040"/>
                </a:solidFill>
                <a:latin typeface="Futura Medium"/>
              </a:endParaRPr>
            </a:p>
            <a:p>
              <a:pPr marL="112713" marR="0" lvl="0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GB" altLang="en-US" sz="1300" dirty="0">
                  <a:solidFill>
                    <a:srgbClr val="404040"/>
                  </a:solidFill>
                  <a:latin typeface="Futura Medium"/>
                </a:rPr>
                <a:t>Transform Logistics </a:t>
              </a:r>
            </a:p>
            <a:p>
              <a:pPr marL="112713" marR="0" lvl="0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lang="en-GB" altLang="en-US" sz="400" dirty="0">
                <a:solidFill>
                  <a:srgbClr val="404040"/>
                </a:solidFill>
                <a:latin typeface="Futura Medium"/>
              </a:endParaRPr>
            </a:p>
            <a:p>
              <a:pPr marL="112713" indent="-112713">
                <a:buFont typeface="Wingdings" panose="05000000000000000000" pitchFamily="2" charset="2"/>
                <a:buChar char="§"/>
                <a:defRPr/>
              </a:pPr>
              <a:r>
                <a:rPr lang="en-GB" altLang="en-US" sz="1300" dirty="0">
                  <a:solidFill>
                    <a:srgbClr val="404040"/>
                  </a:solidFill>
                  <a:latin typeface="Futura Medium"/>
                </a:rPr>
                <a:t>Embed “Task Zero”</a:t>
              </a:r>
            </a:p>
            <a:p>
              <a:pPr marL="112713" marR="0" lvl="0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lang="en-GB" altLang="en-US" sz="400" dirty="0">
                <a:solidFill>
                  <a:srgbClr val="404040"/>
                </a:solidFill>
                <a:latin typeface="Futura Medium"/>
              </a:endParaRPr>
            </a:p>
            <a:p>
              <a:pPr marL="112713" marR="0" lvl="0" indent="-112713" fontAlgn="auto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GB" altLang="en-US" sz="1300" dirty="0">
                  <a:solidFill>
                    <a:srgbClr val="404040"/>
                  </a:solidFill>
                  <a:latin typeface="Futura Medium"/>
                </a:rPr>
                <a:t>GHG reduction</a:t>
              </a:r>
            </a:p>
            <a:p>
              <a:pPr marL="334963" marR="0" lvl="1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Oil: 0.22t/t</a:t>
              </a:r>
            </a:p>
            <a:p>
              <a:pPr marL="334963" marR="0" lvl="1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GB" altLang="en-US" sz="1200" dirty="0">
                  <a:solidFill>
                    <a:srgbClr val="404040"/>
                  </a:solidFill>
                  <a:latin typeface="Futura Medium"/>
                </a:rPr>
                <a:t>Gas: 0.06t/t</a:t>
              </a:r>
            </a:p>
            <a:p>
              <a:pPr marL="334963" marR="0" lvl="1" indent="-112713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lang="en-GB" altLang="en-US" sz="1200" dirty="0">
                <a:solidFill>
                  <a:srgbClr val="404040"/>
                </a:solidFill>
                <a:latin typeface="Futura Medium"/>
              </a:endParaRPr>
            </a:p>
            <a:p>
              <a:pPr marL="112713" indent="-112713">
                <a:buFont typeface="Wingdings" panose="05000000000000000000" pitchFamily="2" charset="2"/>
                <a:buChar char="§"/>
                <a:defRPr/>
              </a:pPr>
              <a:endParaRPr lang="en-GB" altLang="en-US" sz="1400" dirty="0">
                <a:solidFill>
                  <a:srgbClr val="404040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7" name="AutoShape 3">
              <a:extLst>
                <a:ext uri="{FF2B5EF4-FFF2-40B4-BE49-F238E27FC236}">
                  <a16:creationId xmlns:a16="http://schemas.microsoft.com/office/drawing/2014/main" id="{F012A885-DD58-4192-8BCE-A5C141B34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5579" y="1501572"/>
              <a:ext cx="2121401" cy="4392311"/>
            </a:xfrm>
            <a:prstGeom prst="foldedCorner">
              <a:avLst>
                <a:gd name="adj" fmla="val 12500"/>
              </a:avLst>
            </a:prstGeom>
            <a:solidFill>
              <a:schemeClr val="bg2">
                <a:alpha val="0"/>
              </a:schemeClr>
            </a:solidFill>
            <a:ln w="22225">
              <a:solidFill>
                <a:schemeClr val="accent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40" tIns="320040" rIns="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  <a:p>
              <a:pPr marL="0" lvl="0" indent="0" algn="ctr" defTabSz="914400">
                <a:buClr>
                  <a:srgbClr val="FF0000"/>
                </a:buClr>
                <a:defRPr/>
              </a:pPr>
              <a:r>
                <a:rPr lang="en-US" altLang="en-US" sz="1600" b="1" dirty="0">
                  <a:solidFill>
                    <a:srgbClr val="595959"/>
                  </a:solidFill>
                  <a:latin typeface="Futura Medium"/>
                </a:rPr>
                <a:t>Safe &amp; reliable</a:t>
              </a:r>
            </a:p>
            <a:p>
              <a:pPr marL="0" lvl="0" indent="0" algn="ctr" defTabSz="914400">
                <a:buClr>
                  <a:srgbClr val="FF0000"/>
                </a:buClr>
                <a:defRPr/>
              </a:pPr>
              <a:r>
                <a:rPr lang="en-US" altLang="en-US" sz="1600" b="1" dirty="0">
                  <a:solidFill>
                    <a:srgbClr val="595959"/>
                  </a:solidFill>
                  <a:latin typeface="Futura Medium"/>
                </a:rPr>
                <a:t>DCQ every day</a:t>
              </a:r>
            </a:p>
            <a:p>
              <a:pPr marL="0" indent="0" algn="ctr">
                <a:spcBef>
                  <a:spcPts val="800"/>
                </a:spcBef>
                <a:buClr>
                  <a:srgbClr val="FF0000"/>
                </a:buClr>
                <a:defRPr/>
              </a:pPr>
              <a:r>
                <a:rPr lang="en-US" altLang="en-US" sz="1300" dirty="0">
                  <a:solidFill>
                    <a:srgbClr val="595959"/>
                  </a:solidFill>
                  <a:latin typeface="Futura Medium"/>
                </a:rPr>
                <a:t>Oil 140 kb/d</a:t>
              </a:r>
            </a:p>
            <a:p>
              <a:pPr marL="0" lvl="0" indent="0" algn="ctr">
                <a:buClr>
                  <a:srgbClr val="FF0000"/>
                </a:buClr>
                <a:defRPr/>
              </a:pPr>
              <a:r>
                <a:rPr lang="en-US" altLang="en-US" sz="1300" dirty="0">
                  <a:solidFill>
                    <a:srgbClr val="595959"/>
                  </a:solidFill>
                  <a:latin typeface="Futura Medium"/>
                </a:rPr>
                <a:t>Export 16 MMscf/d </a:t>
              </a:r>
            </a:p>
            <a:p>
              <a:pPr marL="0" lvl="0" indent="0" algn="ctr">
                <a:buClr>
                  <a:srgbClr val="FF0000"/>
                </a:buClr>
                <a:defRPr/>
              </a:pPr>
              <a:r>
                <a:rPr lang="en-US" altLang="en-US" sz="1300" dirty="0" err="1">
                  <a:solidFill>
                    <a:srgbClr val="595959"/>
                  </a:solidFill>
                  <a:latin typeface="Futura Medium"/>
                </a:rPr>
                <a:t>Domgas</a:t>
              </a:r>
              <a:r>
                <a:rPr lang="en-US" altLang="en-US" sz="1300" dirty="0">
                  <a:solidFill>
                    <a:srgbClr val="595959"/>
                  </a:solidFill>
                  <a:latin typeface="Futura Medium"/>
                </a:rPr>
                <a:t> 36 MMscf/d</a:t>
              </a:r>
              <a:endParaRPr kumimoji="0" lang="en-US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lvl="0" indent="0" algn="ctr">
                <a:buClr>
                  <a:srgbClr val="FF0000"/>
                </a:buClr>
                <a:defRPr/>
              </a:pPr>
              <a:endParaRPr kumimoji="0" lang="en-US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buSzTx/>
                <a:tabLst/>
                <a:defRPr/>
              </a:pPr>
              <a:br>
                <a:rPr lang="en-US" altLang="en-US" sz="100" dirty="0">
                  <a:solidFill>
                    <a:srgbClr val="404040"/>
                  </a:solidFill>
                  <a:latin typeface="Futura Medium"/>
                </a:rPr>
              </a:br>
              <a:br>
                <a:rPr lang="en-US" altLang="en-US" sz="100" dirty="0">
                  <a:solidFill>
                    <a:srgbClr val="404040"/>
                  </a:solidFill>
                  <a:latin typeface="Futura Medium"/>
                </a:rPr>
              </a:br>
              <a:br>
                <a:rPr lang="en-US" altLang="en-US" sz="100" dirty="0">
                  <a:solidFill>
                    <a:srgbClr val="404040"/>
                  </a:solidFill>
                  <a:latin typeface="Futura Medium"/>
                </a:rPr>
              </a:br>
              <a:br>
                <a:rPr lang="en-US" altLang="en-US" sz="100" dirty="0">
                  <a:solidFill>
                    <a:srgbClr val="404040"/>
                  </a:solidFill>
                  <a:latin typeface="Futura Medium"/>
                </a:rPr>
              </a:br>
              <a:br>
                <a:rPr lang="en-US" altLang="en-US" sz="100" dirty="0">
                  <a:solidFill>
                    <a:srgbClr val="404040"/>
                  </a:solidFill>
                  <a:latin typeface="Futura Medium"/>
                </a:rPr>
              </a:br>
              <a:r>
                <a:rPr lang="en-US" altLang="en-US" sz="1300" dirty="0">
                  <a:solidFill>
                    <a:srgbClr val="404040"/>
                  </a:solidFill>
                  <a:latin typeface="Futura Medium"/>
                </a:rPr>
                <a:t>OP to IAP/ MSC:               </a:t>
              </a:r>
            </a:p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buSzTx/>
                <a:tabLst/>
                <a:defRPr/>
              </a:pPr>
              <a:r>
                <a:rPr lang="en-US" altLang="en-US" sz="1200" dirty="0">
                  <a:solidFill>
                    <a:srgbClr val="404040"/>
                  </a:solidFill>
                  <a:latin typeface="Futura Medium"/>
                </a:rPr>
                <a:t>Safely execute      3 + 0 rigs</a:t>
              </a:r>
              <a:endParaRPr lang="en-US" altLang="en-US" sz="1200" dirty="0">
                <a:solidFill>
                  <a:srgbClr val="FF0000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spcBef>
                  <a:spcPts val="600"/>
                </a:spcBef>
                <a:spcAft>
                  <a:spcPts val="600"/>
                </a:spcAft>
                <a:buSzTx/>
                <a:tabLst/>
                <a:defRPr/>
              </a:pPr>
              <a:r>
                <a:rPr lang="en-US" altLang="en-US" sz="1200" dirty="0">
                  <a:solidFill>
                    <a:srgbClr val="404040"/>
                  </a:solidFill>
                  <a:latin typeface="Futura Medium"/>
                </a:rPr>
                <a:t>Infill &amp; WRFM      Ramp up	        	      towards “13     	      spreads”</a:t>
              </a:r>
            </a:p>
            <a:p>
              <a:pPr marL="0" marR="0" lvl="0" indent="0" algn="l" defTabSz="914400" rtl="0" eaLnBrk="1" fontAlgn="auto" latinLnBrk="0" hangingPunct="1">
                <a:spcBef>
                  <a:spcPts val="600"/>
                </a:spcBef>
                <a:spcAft>
                  <a:spcPts val="600"/>
                </a:spcAft>
                <a:buSzTx/>
                <a:tabLst/>
                <a:defRPr/>
              </a:pPr>
              <a:r>
                <a:rPr lang="en-US" altLang="en-US" sz="1300" dirty="0">
                  <a:solidFill>
                    <a:srgbClr val="404040"/>
                  </a:solidFill>
                  <a:latin typeface="Futura Medium"/>
                </a:rPr>
                <a:t>New Oil     	      36 kb/d*</a:t>
              </a:r>
            </a:p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SzTx/>
                <a:tabLst/>
                <a:defRPr/>
              </a:pPr>
              <a:r>
                <a:rPr lang="en-US" altLang="en-US" sz="1300" dirty="0">
                  <a:solidFill>
                    <a:srgbClr val="404040"/>
                  </a:solidFill>
                  <a:latin typeface="Futura Medium"/>
                </a:rPr>
                <a:t>Comp Uptime     &gt;90%</a:t>
              </a:r>
            </a:p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400"/>
                </a:spcAft>
                <a:buSzTx/>
                <a:tabLst/>
                <a:defRPr/>
              </a:pPr>
              <a:endParaRPr lang="en-US" altLang="en-US" sz="300" dirty="0">
                <a:solidFill>
                  <a:srgbClr val="404040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*Includes 12 kb/d from FYIP – 1C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52" name="AutoShape 3">
              <a:extLst>
                <a:ext uri="{FF2B5EF4-FFF2-40B4-BE49-F238E27FC236}">
                  <a16:creationId xmlns:a16="http://schemas.microsoft.com/office/drawing/2014/main" id="{9AFC62C1-92AE-4DDD-8590-42474CF7A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3059" y="1509176"/>
              <a:ext cx="1837168" cy="4392784"/>
            </a:xfrm>
            <a:prstGeom prst="foldedCorner">
              <a:avLst>
                <a:gd name="adj" fmla="val 12500"/>
              </a:avLst>
            </a:prstGeom>
            <a:solidFill>
              <a:schemeClr val="bg2">
                <a:alpha val="0"/>
              </a:schemeClr>
            </a:solidFill>
            <a:ln w="22225">
              <a:solidFill>
                <a:schemeClr val="accent5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40" tIns="320040" rIns="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Keep T1-6 full &amp; </a:t>
              </a:r>
              <a:r>
                <a:rPr lang="en-GB" altLang="en-US" sz="1600" b="1" dirty="0">
                  <a:solidFill>
                    <a:srgbClr val="595959"/>
                  </a:solidFill>
                  <a:latin typeface="Futura Medium"/>
                </a:rPr>
                <a:t>deliver</a:t>
              </a: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 T7 supply </a:t>
              </a: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endParaRPr lang="en-GB" altLang="en-US" sz="1400" dirty="0">
                <a:solidFill>
                  <a:srgbClr val="595959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buClr>
                  <a:srgbClr val="FF0000"/>
                </a:buClr>
                <a:buSzTx/>
                <a:tabLst/>
                <a:defRPr/>
              </a:pPr>
              <a:endParaRPr lang="en-GB" altLang="en-US" sz="1400" dirty="0">
                <a:solidFill>
                  <a:srgbClr val="595959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buClr>
                  <a:srgbClr val="FF0000"/>
                </a:buClr>
                <a:buSzTx/>
                <a:tabLst/>
                <a:defRPr/>
              </a:pPr>
              <a:endParaRPr lang="en-GB" altLang="en-US" sz="1400" dirty="0">
                <a:solidFill>
                  <a:srgbClr val="595959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buClr>
                  <a:srgbClr val="FF0000"/>
                </a:buClr>
                <a:buSzTx/>
                <a:tabLst/>
                <a:defRPr/>
              </a:pPr>
              <a:endParaRPr lang="en-GB" altLang="en-US" sz="1000" dirty="0">
                <a:solidFill>
                  <a:srgbClr val="595959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Aft>
                  <a:spcPts val="600"/>
                </a:spcAft>
                <a:buClr>
                  <a:srgbClr val="FF0000"/>
                </a:buClr>
                <a:buSzTx/>
                <a:tabLst/>
                <a:defRPr/>
              </a:pPr>
              <a:br>
                <a:rPr lang="en-GB" altLang="en-US" sz="100" dirty="0">
                  <a:solidFill>
                    <a:srgbClr val="595959"/>
                  </a:solidFill>
                  <a:latin typeface="Futura Medium"/>
                </a:rPr>
              </a:br>
              <a:br>
                <a:rPr lang="en-GB" altLang="en-US" sz="100" dirty="0">
                  <a:solidFill>
                    <a:srgbClr val="595959"/>
                  </a:solidFill>
                  <a:latin typeface="Futura Medium"/>
                </a:rPr>
              </a:br>
              <a:br>
                <a:rPr lang="en-GB" altLang="en-US" sz="100" dirty="0">
                  <a:solidFill>
                    <a:srgbClr val="595959"/>
                  </a:solidFill>
                  <a:latin typeface="Futura Medium"/>
                </a:rPr>
              </a:br>
              <a:br>
                <a:rPr lang="en-GB" altLang="en-US" sz="100" dirty="0">
                  <a:solidFill>
                    <a:srgbClr val="595959"/>
                  </a:solidFill>
                  <a:latin typeface="Futura Medium"/>
                </a:rPr>
              </a:br>
              <a:br>
                <a:rPr lang="en-GB" altLang="en-US" sz="100" dirty="0">
                  <a:solidFill>
                    <a:srgbClr val="595959"/>
                  </a:solidFill>
                  <a:latin typeface="Futura Medium"/>
                </a:rPr>
              </a:b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 panose="00000400000000000000" pitchFamily="2" charset="0"/>
                </a:rPr>
                <a:t>HA DG3 	          Mar                 </a:t>
              </a:r>
            </a:p>
            <a:p>
              <a:pPr marL="0" indent="0">
                <a:lnSpc>
                  <a:spcPct val="150000"/>
                </a:lnSpc>
                <a:tabLst>
                  <a:tab pos="1316038" algn="l"/>
                </a:tabLs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 panose="00000400000000000000" pitchFamily="2" charset="0"/>
                </a:rPr>
                <a:t>H Expl DG4            Nov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buSzTx/>
                <a:tabLst>
                  <a:tab pos="1316038" algn="l"/>
                </a:tabLs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 panose="00000400000000000000" pitchFamily="2" charset="0"/>
                </a:rPr>
                <a:t>HI FID                     Dec  </a:t>
              </a:r>
            </a:p>
            <a:p>
              <a:pPr marL="0" lvl="0" indent="0" defTabSz="1316038">
                <a:lnSpc>
                  <a:spcPct val="150000"/>
                </a:lnSpc>
                <a:defRPr/>
              </a:pPr>
              <a:endPara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53" name="AutoShape 3">
              <a:extLst>
                <a:ext uri="{FF2B5EF4-FFF2-40B4-BE49-F238E27FC236}">
                  <a16:creationId xmlns:a16="http://schemas.microsoft.com/office/drawing/2014/main" id="{BEDABA9D-9049-421C-A30E-1CC24C6FF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552" y="1510974"/>
              <a:ext cx="2137627" cy="4374407"/>
            </a:xfrm>
            <a:prstGeom prst="foldedCorner">
              <a:avLst>
                <a:gd name="adj" fmla="val 12500"/>
              </a:avLst>
            </a:prstGeom>
            <a:solidFill>
              <a:schemeClr val="bg2">
                <a:alpha val="0"/>
              </a:schemeClr>
            </a:solidFill>
            <a:ln w="22225">
              <a:solidFill>
                <a:schemeClr val="accent5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40" tIns="320040" rIns="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Grow demand &amp; deliver projects</a:t>
              </a:r>
            </a:p>
            <a:p>
              <a:pPr marL="0" marR="0" lvl="0" indent="0" algn="l" defTabSz="1317625" rtl="0" eaLnBrk="1" fontAlgn="auto" latinLnBrk="0" hangingPunct="1">
                <a:spcAft>
                  <a:spcPts val="600"/>
                </a:spcAft>
                <a:buSzTx/>
                <a:tabLst>
                  <a:tab pos="227013" algn="l"/>
                  <a:tab pos="1654175" algn="l"/>
                  <a:tab pos="1719263" algn="l"/>
                  <a:tab pos="1947863" algn="l"/>
                </a:tabLst>
                <a:defRPr/>
              </a:pPr>
              <a:endParaRPr lang="en-GB" altLang="en-US" sz="1400" dirty="0">
                <a:solidFill>
                  <a:schemeClr val="tx1">
                    <a:lumMod val="75000"/>
                  </a:schemeClr>
                </a:solidFill>
                <a:latin typeface="Futura Medium" panose="00000400000000000000" pitchFamily="2" charset="0"/>
              </a:endParaRPr>
            </a:p>
            <a:p>
              <a:pPr marL="0" marR="0" lvl="0" indent="0" algn="l" defTabSz="1317625" rtl="0" eaLnBrk="1" fontAlgn="auto" latinLnBrk="0" hangingPunct="1">
                <a:spcAft>
                  <a:spcPts val="600"/>
                </a:spcAft>
                <a:buSzTx/>
                <a:tabLst>
                  <a:tab pos="227013" algn="l"/>
                  <a:tab pos="1654175" algn="l"/>
                  <a:tab pos="1719263" algn="l"/>
                  <a:tab pos="1947863" algn="l"/>
                </a:tabLst>
                <a:defRPr/>
              </a:pPr>
              <a:endParaRPr lang="en-GB" altLang="en-US" sz="1600" dirty="0">
                <a:solidFill>
                  <a:schemeClr val="tx1">
                    <a:lumMod val="75000"/>
                  </a:schemeClr>
                </a:solidFill>
                <a:latin typeface="Futura Medium" panose="00000400000000000000" pitchFamily="2" charset="0"/>
              </a:endParaRPr>
            </a:p>
            <a:p>
              <a:pPr marL="0" marR="0" lvl="0" indent="0" algn="l" defTabSz="1317625" rtl="0" eaLnBrk="1" fontAlgn="auto" latinLnBrk="0" hangingPunct="1">
                <a:spcAft>
                  <a:spcPts val="600"/>
                </a:spcAft>
                <a:buSzTx/>
                <a:tabLst>
                  <a:tab pos="227013" algn="l"/>
                  <a:tab pos="1654175" algn="l"/>
                  <a:tab pos="1719263" algn="l"/>
                  <a:tab pos="1947863" algn="l"/>
                </a:tabLst>
                <a:defRPr/>
              </a:pPr>
              <a:endParaRPr lang="en-GB" altLang="en-US" sz="1200" dirty="0">
                <a:solidFill>
                  <a:schemeClr val="tx1">
                    <a:lumMod val="75000"/>
                  </a:schemeClr>
                </a:solidFill>
                <a:latin typeface="Futura Medium" panose="00000400000000000000" pitchFamily="2" charset="0"/>
              </a:endParaRPr>
            </a:p>
            <a:p>
              <a:pPr marL="0" marR="0" lvl="0" indent="0" algn="l" defTabSz="1317625" rtl="0" eaLnBrk="1" fontAlgn="auto" latinLnBrk="0" hangingPunct="1">
                <a:spcAft>
                  <a:spcPts val="600"/>
                </a:spcAft>
                <a:buSzTx/>
                <a:tabLst>
                  <a:tab pos="227013" algn="l"/>
                  <a:tab pos="1654175" algn="l"/>
                  <a:tab pos="1719263" algn="l"/>
                  <a:tab pos="1947863" algn="l"/>
                </a:tabLs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FYIP NAG OSD             Feb</a:t>
              </a:r>
            </a:p>
            <a:p>
              <a:pPr marL="0" marR="0" lvl="0" indent="0" algn="l" defTabSz="1317625" rtl="0" eaLnBrk="1" fontAlgn="auto" latinLnBrk="0" hangingPunct="1">
                <a:spcAft>
                  <a:spcPts val="600"/>
                </a:spcAft>
                <a:buSzTx/>
                <a:tabLst>
                  <a:tab pos="227013" algn="l"/>
                  <a:tab pos="1654175" algn="l"/>
                  <a:tab pos="1719263" algn="l"/>
                  <a:tab pos="1947863" algn="l"/>
                </a:tabLs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     </a:t>
              </a:r>
              <a:r>
                <a:rPr lang="en-GB" altLang="en-US" sz="10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      </a:t>
              </a:r>
              <a:endParaRPr lang="en-GB" altLang="en-US" sz="13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spcAft>
                  <a:spcPts val="600"/>
                </a:spcAft>
                <a:buSzTx/>
                <a:tabLst>
                  <a:tab pos="1427163" algn="l"/>
                  <a:tab pos="1487488" algn="l"/>
                  <a:tab pos="1547813" algn="l"/>
                  <a:tab pos="1768475" algn="l"/>
                </a:tabLst>
                <a:defRPr/>
              </a:pPr>
              <a:endParaRPr lang="en-GB" altLang="en-US" sz="900" dirty="0">
                <a:solidFill>
                  <a:schemeClr val="tx1">
                    <a:lumMod val="75000"/>
                  </a:schemeClr>
                </a:solidFill>
                <a:latin typeface="Futura Medium" panose="00000400000000000000" pitchFamily="2" charset="0"/>
              </a:endParaRPr>
            </a:p>
          </p:txBody>
        </p:sp>
        <p:sp>
          <p:nvSpPr>
            <p:cNvPr id="67" name="AutoShape 3">
              <a:extLst>
                <a:ext uri="{FF2B5EF4-FFF2-40B4-BE49-F238E27FC236}">
                  <a16:creationId xmlns:a16="http://schemas.microsoft.com/office/drawing/2014/main" id="{E559E87B-7FCE-4E55-BECF-F9AEDD251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32550" y="1512266"/>
              <a:ext cx="1511623" cy="4379782"/>
            </a:xfrm>
            <a:prstGeom prst="foldedCorner">
              <a:avLst>
                <a:gd name="adj" fmla="val 12500"/>
              </a:avLst>
            </a:prstGeom>
            <a:solidFill>
              <a:schemeClr val="bg2">
                <a:alpha val="0"/>
              </a:schemeClr>
            </a:solidFill>
            <a:ln w="222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32004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lang="en-GB" altLang="en-US" sz="1600" b="1" dirty="0">
                  <a:solidFill>
                    <a:srgbClr val="FF0000"/>
                  </a:solidFill>
                  <a:latin typeface="Futura Medium"/>
                </a:rPr>
                <a:t>CFFO $1bn</a:t>
              </a:r>
              <a:br>
                <a:rPr lang="en-GB" altLang="en-US" sz="1600" b="1" dirty="0">
                  <a:solidFill>
                    <a:srgbClr val="FF0000"/>
                  </a:solidFill>
                  <a:latin typeface="Futura Medium"/>
                </a:rPr>
              </a:br>
              <a:r>
                <a:rPr lang="en-GB" altLang="en-US" sz="1600" b="1" dirty="0">
                  <a:solidFill>
                    <a:srgbClr val="FF0000"/>
                  </a:solidFill>
                  <a:latin typeface="Futura Medium"/>
                </a:rPr>
                <a:t>FCF $0.9 bn 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lang="en-US" altLang="en-US" sz="14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  <a:p>
              <a:pPr marL="0" marR="0" lvl="0" indent="0" defTabSz="914400" rtl="0" eaLnBrk="1" fontAlgn="auto" latinLnBrk="0" hangingPunct="1"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lang="en-US" altLang="en-US" sz="4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  <a:p>
              <a:pPr marL="0" marR="0" lvl="0" indent="0" defTabSz="914400" rtl="0" eaLnBrk="1" fontAlgn="auto" latinLnBrk="0" hangingPunct="1"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lang="en-US" altLang="en-US" sz="4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  <a:p>
              <a:pPr marL="0" marR="0" lvl="0" indent="0" defTabSz="914400" rtl="0" eaLnBrk="1" fontAlgn="auto" latinLnBrk="0" hangingPunct="1"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Improve Opex</a:t>
              </a:r>
            </a:p>
            <a:p>
              <a:pPr marL="0" indent="0">
                <a:spcAft>
                  <a:spcPts val="600"/>
                </a:spcAft>
                <a:defRPr/>
              </a:pPr>
              <a: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Capex discipline</a:t>
              </a:r>
            </a:p>
            <a:p>
              <a:pPr marL="0" indent="0">
                <a:spcAft>
                  <a:spcPts val="600"/>
                </a:spcAft>
                <a:defRPr/>
              </a:pPr>
              <a: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Reduce overdues</a:t>
              </a:r>
            </a:p>
            <a:p>
              <a:pPr marL="0" indent="0">
                <a:spcAft>
                  <a:spcPts val="600"/>
                </a:spcAft>
                <a:defRPr/>
              </a:pPr>
              <a: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Funding, cash mgt</a:t>
              </a:r>
            </a:p>
            <a:p>
              <a:pPr marL="0" indent="0">
                <a:spcAft>
                  <a:spcPts val="600"/>
                </a:spcAft>
                <a:defRPr/>
              </a:pPr>
              <a:endParaRPr lang="en-US" altLang="en-US" sz="13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A4D51EF2-1EA9-4E6F-8150-31A17FD06D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/>
            <a:stretch/>
          </p:blipFill>
          <p:spPr>
            <a:xfrm>
              <a:off x="5084827" y="1789920"/>
              <a:ext cx="730876" cy="618679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C5B6C490-B9F7-400C-9B99-8D8676C1C9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25283" b="24564"/>
            <a:stretch/>
          </p:blipFill>
          <p:spPr>
            <a:xfrm>
              <a:off x="7173335" y="1789920"/>
              <a:ext cx="678060" cy="624005"/>
            </a:xfrm>
            <a:prstGeom prst="rect">
              <a:avLst/>
            </a:prstGeom>
          </p:spPr>
        </p:pic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6401087-2B6C-496B-A13F-3BBE488B06C0}"/>
                </a:ext>
              </a:extLst>
            </p:cNvPr>
            <p:cNvSpPr/>
            <p:nvPr/>
          </p:nvSpPr>
          <p:spPr>
            <a:xfrm>
              <a:off x="10768851" y="1571821"/>
              <a:ext cx="902656" cy="845255"/>
            </a:xfrm>
            <a:prstGeom prst="ellipse">
              <a:avLst/>
            </a:prstGeom>
            <a:blipFill rotWithShape="1">
              <a:blip r:embed="rId9"/>
              <a:stretch>
                <a:fillRect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D3E5ADB3-B023-4D07-AFB9-E28BA7EE2B3D}"/>
                </a:ext>
              </a:extLst>
            </p:cNvPr>
            <p:cNvSpPr/>
            <p:nvPr/>
          </p:nvSpPr>
          <p:spPr>
            <a:xfrm>
              <a:off x="2996493" y="1655350"/>
              <a:ext cx="885851" cy="807629"/>
            </a:xfrm>
            <a:prstGeom prst="ellipse">
              <a:avLst/>
            </a:prstGeom>
            <a:blipFill rotWithShape="1">
              <a:blip r:embed="rId10"/>
              <a:stretch>
                <a:fillRect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D1E0A91A-23EF-45A5-BF81-0029F21393D9}"/>
                </a:ext>
              </a:extLst>
            </p:cNvPr>
            <p:cNvSpPr/>
            <p:nvPr/>
          </p:nvSpPr>
          <p:spPr>
            <a:xfrm>
              <a:off x="840678" y="1636814"/>
              <a:ext cx="777391" cy="776638"/>
            </a:xfrm>
            <a:prstGeom prst="ellipse">
              <a:avLst/>
            </a:prstGeom>
            <a:blipFill rotWithShape="1">
              <a:blip r:embed="rId11"/>
              <a:stretch>
                <a:fillRect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AutoShape 3">
              <a:extLst>
                <a:ext uri="{FF2B5EF4-FFF2-40B4-BE49-F238E27FC236}">
                  <a16:creationId xmlns:a16="http://schemas.microsoft.com/office/drawing/2014/main" id="{57F90538-9EE4-4D78-8CA4-1F3833421A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4503" y="1509176"/>
              <a:ext cx="1715209" cy="4369346"/>
            </a:xfrm>
            <a:prstGeom prst="foldedCorner">
              <a:avLst>
                <a:gd name="adj" fmla="val 12500"/>
              </a:avLst>
            </a:prstGeom>
            <a:solidFill>
              <a:schemeClr val="bg2">
                <a:alpha val="0"/>
              </a:schemeClr>
            </a:solidFill>
            <a:ln w="22225">
              <a:solidFill>
                <a:schemeClr val="accent5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40" tIns="320040" anchor="t"/>
            <a:lstStyle>
              <a:lvl1pPr marL="234950" indent="-234950">
                <a:defRPr>
                  <a:solidFill>
                    <a:schemeClr val="tx1"/>
                  </a:solidFill>
                  <a:latin typeface="Arial" charset="0"/>
                </a:defRPr>
              </a:lvl1pPr>
              <a:lvl2pPr>
                <a:defRPr>
                  <a:solidFill>
                    <a:schemeClr val="tx1"/>
                  </a:solidFill>
                  <a:latin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Grow liquids &amp; keep hubs full</a:t>
              </a:r>
              <a:endParaRPr kumimoji="0" lang="en-GB" alt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br>
                <a:rPr kumimoji="0" lang="en-GB" altLang="en-US" sz="1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</a:br>
              <a:endParaRPr kumimoji="0" lang="en-GB" alt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lang="en-GB" altLang="en-US" sz="100" noProof="0" dirty="0">
                <a:solidFill>
                  <a:srgbClr val="595959"/>
                </a:solidFill>
                <a:latin typeface="Futura Medium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endPara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0000"/>
                </a:buClr>
                <a:buSzTx/>
                <a:buFontTx/>
                <a:buNone/>
                <a:tabLst/>
                <a:defRPr/>
              </a:pPr>
              <a:r>
                <a:rPr kumimoji="0" lang="en-GB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EA </a:t>
              </a: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FOD</a:t>
              </a:r>
              <a:r>
                <a:rPr kumimoji="0" lang="en-GB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 OSD      </a:t>
              </a:r>
              <a:r>
                <a:rPr kumimoji="0" lang="en-GB" altLang="en-US" sz="13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Jan </a:t>
              </a:r>
            </a:p>
            <a:p>
              <a:pPr marL="0" indent="0" defTabSz="1146175">
                <a:spcAft>
                  <a:spcPts val="600"/>
                </a:spcAf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SSAGS2 OSD     </a:t>
              </a:r>
              <a:r>
                <a:rPr lang="en-GB" altLang="en-US" sz="1300" dirty="0">
                  <a:latin typeface="Futura Medium"/>
                </a:rPr>
                <a:t>Mar </a:t>
              </a:r>
            </a:p>
            <a:p>
              <a:pPr marL="0" indent="0" defTabSz="1146175">
                <a:spcAft>
                  <a:spcPts val="600"/>
                </a:spcAft>
                <a:defRPr/>
              </a:pPr>
              <a: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JK Spud              Mar</a:t>
              </a:r>
              <a:endParaRPr lang="en-US" altLang="en-US" sz="1300" dirty="0">
                <a:latin typeface="Futura Medium"/>
              </a:endParaRPr>
            </a:p>
            <a:p>
              <a:pPr marL="0" lvl="0" indent="0" defTabSz="1146175">
                <a:spcAft>
                  <a:spcPts val="600"/>
                </a:spcAf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EA FOD </a:t>
              </a:r>
              <a:r>
                <a:rPr lang="en-GB" altLang="en-US" sz="1300" dirty="0" err="1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hookup</a:t>
              </a: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  </a:t>
              </a:r>
              <a:r>
                <a:rPr lang="en-GB" altLang="en-US" sz="1300" dirty="0">
                  <a:latin typeface="Futura Medium"/>
                </a:rPr>
                <a:t>Aug </a:t>
              </a:r>
            </a:p>
            <a:p>
              <a:pPr marL="0" indent="0" defTabSz="1146175">
                <a:spcAft>
                  <a:spcPts val="600"/>
                </a:spcAft>
                <a:defRPr/>
              </a:pPr>
              <a:endParaRPr lang="en-US" altLang="en-US" sz="1400" dirty="0">
                <a:solidFill>
                  <a:srgbClr val="595959"/>
                </a:solidFill>
                <a:latin typeface="Futura Medium"/>
              </a:endParaRPr>
            </a:p>
            <a:p>
              <a:pPr marL="0" indent="0" defTabSz="1146175">
                <a:spcAft>
                  <a:spcPts val="600"/>
                </a:spcAft>
                <a:defRPr/>
              </a:pPr>
              <a:r>
                <a:rPr lang="en-GB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  <a:t>   </a:t>
              </a:r>
            </a:p>
            <a:p>
              <a:pPr marL="0" lvl="0" indent="0" defTabSz="1146175">
                <a:spcAft>
                  <a:spcPts val="600"/>
                </a:spcAft>
                <a:defRPr/>
              </a:pPr>
              <a:br>
                <a:rPr lang="en-US" altLang="en-US" sz="1300" dirty="0">
                  <a:solidFill>
                    <a:schemeClr val="tx1">
                      <a:lumMod val="75000"/>
                    </a:schemeClr>
                  </a:solidFill>
                  <a:latin typeface="Futura Medium"/>
                </a:rPr>
              </a:br>
              <a:endParaRPr lang="en-GB" altLang="en-US" sz="1300" dirty="0">
                <a:solidFill>
                  <a:schemeClr val="tx1">
                    <a:lumMod val="75000"/>
                  </a:schemeClr>
                </a:solidFill>
                <a:latin typeface="Futura Medium"/>
              </a:endParaRP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D2B367CA-00CC-4763-A0E1-19D73A4C26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/>
            <a:stretch/>
          </p:blipFill>
          <p:spPr>
            <a:xfrm>
              <a:off x="9223315" y="1798397"/>
              <a:ext cx="622315" cy="618679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8678453-4A12-4B87-8C2E-8A8E603E2CC8}"/>
              </a:ext>
            </a:extLst>
          </p:cNvPr>
          <p:cNvGrpSpPr/>
          <p:nvPr/>
        </p:nvGrpSpPr>
        <p:grpSpPr>
          <a:xfrm>
            <a:off x="180284" y="5834854"/>
            <a:ext cx="11833983" cy="282030"/>
            <a:chOff x="417729" y="6338299"/>
            <a:chExt cx="11319160" cy="344466"/>
          </a:xfrm>
          <a:solidFill>
            <a:schemeClr val="accent4"/>
          </a:solidFill>
        </p:grpSpPr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58BE842C-194A-40E4-812E-445F4A57BE83}"/>
                </a:ext>
              </a:extLst>
            </p:cNvPr>
            <p:cNvSpPr/>
            <p:nvPr/>
          </p:nvSpPr>
          <p:spPr>
            <a:xfrm>
              <a:off x="419622" y="6338299"/>
              <a:ext cx="11317267" cy="344466"/>
            </a:xfrm>
            <a:prstGeom prst="homePlat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Title 1">
              <a:extLst>
                <a:ext uri="{FF2B5EF4-FFF2-40B4-BE49-F238E27FC236}">
                  <a16:creationId xmlns:a16="http://schemas.microsoft.com/office/drawing/2014/main" id="{9B8D813B-F284-434B-91B8-E94846AAC53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7729" y="6378056"/>
              <a:ext cx="11143852" cy="288100"/>
            </a:xfrm>
            <a:prstGeom prst="rect">
              <a:avLst/>
            </a:prstGeom>
            <a:grpFill/>
            <a:ln w="9525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defTabSz="121917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400" b="1" kern="1200" cap="none" baseline="0" noProof="0" dirty="0" smtClean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974" i="1" dirty="0">
                  <a:solidFill>
                    <a:schemeClr val="bg1"/>
                  </a:solidFill>
                  <a:latin typeface="Futura Medium"/>
                  <a:cs typeface="Arial" panose="020B0604020202020204" pitchFamily="34" charset="0"/>
                </a:rPr>
                <a:t>People &amp; Organizational Effectiveness</a:t>
              </a:r>
            </a:p>
          </p:txBody>
        </p:sp>
      </p:grpSp>
      <p:sp>
        <p:nvSpPr>
          <p:cNvPr id="31" name="AutoShape 3 rename 5">
            <a:extLst>
              <a:ext uri="{FF2B5EF4-FFF2-40B4-BE49-F238E27FC236}">
                <a16:creationId xmlns:a16="http://schemas.microsoft.com/office/drawing/2014/main" id="{A9351EF1-8F46-42FE-8CDA-E6170CF0E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567" y="6112778"/>
            <a:ext cx="11832004" cy="517508"/>
          </a:xfrm>
          <a:prstGeom prst="foldedCorner">
            <a:avLst>
              <a:gd name="adj" fmla="val 31601"/>
            </a:avLst>
          </a:prstGeom>
          <a:solidFill>
            <a:srgbClr val="D9D9D9">
              <a:alpha val="0"/>
            </a:srgbClr>
          </a:solidFill>
          <a:ln w="22225">
            <a:solidFill>
              <a:schemeClr val="accent4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320040" rIns="0" anchor="t"/>
          <a:lstStyle>
            <a:lvl1pPr marL="234950" indent="-234950"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0" indent="0" algn="ctr" defTabSz="914400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</a:pPr>
            <a:endParaRPr lang="en-GB" altLang="en-US" sz="1100" dirty="0">
              <a:solidFill>
                <a:srgbClr val="595959"/>
              </a:solidFill>
              <a:latin typeface="Futura Medium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5B68A9-AF62-43CA-B9F4-97454F24D2BE}"/>
              </a:ext>
            </a:extLst>
          </p:cNvPr>
          <p:cNvSpPr/>
          <p:nvPr/>
        </p:nvSpPr>
        <p:spPr>
          <a:xfrm>
            <a:off x="2523229" y="6129859"/>
            <a:ext cx="4195379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Employee Engagement at TQ, Deepen People Development</a:t>
            </a:r>
          </a:p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Implement OER Gamechangers (incl. AMS)</a:t>
            </a:r>
            <a:endParaRPr lang="en-CA" sz="1200" dirty="0">
              <a:solidFill>
                <a:srgbClr val="FF0000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2C55F41-FDA0-4874-886F-619B65253877}"/>
              </a:ext>
            </a:extLst>
          </p:cNvPr>
          <p:cNvSpPr/>
          <p:nvPr/>
        </p:nvSpPr>
        <p:spPr>
          <a:xfrm>
            <a:off x="8913181" y="-8878"/>
            <a:ext cx="3278819" cy="253916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1050" b="1" i="1" dirty="0">
                <a:solidFill>
                  <a:schemeClr val="bg1"/>
                </a:solidFill>
                <a:cs typeface="Arial" panose="020B0604020202020204" pitchFamily="34" charset="0"/>
              </a:rPr>
              <a:t>Integrated delivery, Safely, responsibly and profitabl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31ECDB4-0D82-46AB-93C5-66BDFEF1B91D}"/>
              </a:ext>
            </a:extLst>
          </p:cNvPr>
          <p:cNvSpPr/>
          <p:nvPr/>
        </p:nvSpPr>
        <p:spPr>
          <a:xfrm>
            <a:off x="76200" y="6070134"/>
            <a:ext cx="3094126" cy="487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Improved Office Environment  </a:t>
            </a:r>
          </a:p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Improved Field Logistics Bas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6F87727-C224-486C-AD55-2A659384CB6C}"/>
              </a:ext>
            </a:extLst>
          </p:cNvPr>
          <p:cNvSpPr/>
          <p:nvPr/>
        </p:nvSpPr>
        <p:spPr>
          <a:xfrm>
            <a:off x="6718608" y="6114686"/>
            <a:ext cx="5182502" cy="487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Safety leadership “Engaging differently”/ Embed Performance Leadership</a:t>
            </a:r>
          </a:p>
          <a:p>
            <a:pPr marL="201613" indent="-201613" defTabSz="357708">
              <a:spcAft>
                <a:spcPts val="200"/>
              </a:spcAft>
              <a:buSzPct val="85000"/>
              <a:buFont typeface="Wingdings" panose="05000000000000000000" pitchFamily="2" charset="2"/>
              <a:buChar char=""/>
            </a:pPr>
            <a:r>
              <a:rPr lang="en-CA" sz="1200" dirty="0"/>
              <a:t>Team Leadership</a:t>
            </a:r>
          </a:p>
        </p:txBody>
      </p:sp>
    </p:spTree>
    <p:extLst>
      <p:ext uri="{BB962C8B-B14F-4D97-AF65-F5344CB8AC3E}">
        <p14:creationId xmlns:p14="http://schemas.microsoft.com/office/powerpoint/2010/main" val="183636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WizKit V3_Template_4by3_06July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hell Template - Presentation Mode New v33.potx" id="{657A983B-3BF7-4CDF-9F8D-C341850A1E6B}" vid="{92CB91EA-BB9F-439C-8000-8296E719B80B}"/>
    </a:ext>
  </a:extLst>
</a:theme>
</file>

<file path=ppt/theme/theme2.xml><?xml version="1.0" encoding="utf-8"?>
<a:theme xmlns:a="http://schemas.openxmlformats.org/drawingml/2006/main" name="3_Shell WizKit V3_Template_Widescreen_06July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Email" ma:contentTypeID="0x0101006F0A470EEB1140E7AA14F4CE8A50B54C0001CB1477F4DD432AA86DD56CC3887AF4008CD1F6CD3F804F62A513C268B318C7A3008FB5227231E8E14BA5DB165CBF8450C1" ma:contentTypeVersion="35" ma:contentTypeDescription="Shell Email Content Type" ma:contentTypeScope="" ma:versionID="4bcd8cb159b184e444f9761753c10377">
  <xsd:schema xmlns:xsd="http://www.w3.org/2001/XMLSchema" xmlns:xs="http://www.w3.org/2001/XMLSchema" xmlns:p="http://schemas.microsoft.com/office/2006/metadata/properties" xmlns:ns1="http://schemas.microsoft.com/sharepoint/v3" xmlns:ns2="44a17b58-feae-4101-b634-e656d384e36f" xmlns:ns4="http://schemas.microsoft.com/sharepoint/v4" targetNamespace="http://schemas.microsoft.com/office/2006/metadata/properties" ma:root="true" ma:fieldsID="2a18b9ddf1b46bd2435d70015a75a5f4" ns1:_="" ns2:_="" ns4:_="">
    <xsd:import namespace="http://schemas.microsoft.com/sharepoint/v3"/>
    <xsd:import namespace="44a17b58-feae-4101-b634-e656d384e36f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Shell_x0020_SharePoint_x0020_SAEF_x0020_EmailFromAddress" minOccurs="0"/>
                <xsd:element ref="ns1:Shell_x0020_SharePoint_x0020_SAEF_x0020_EmailFrom" minOccurs="0"/>
                <xsd:element ref="ns1:Shell_x0020_SharePoint_x0020_SAEF_x0020_EmailToAddress" minOccurs="0"/>
                <xsd:element ref="ns1:Shell_x0020_SharePoint_x0020_SAEF_x0020_EmailTo" minOccurs="0"/>
                <xsd:element ref="ns1:Shell_x0020_SharePoint_x0020_SAEF_x0020_EmailSubject" minOccurs="0"/>
                <xsd:element ref="ns1:Shell_x0020_SharePoint_x0020_SAEF_x0020_EmailSentUTC" minOccurs="0"/>
                <xsd:element ref="ns1:Shell_x0020_SharePoint_x0020_SAEF_x0020_EmailReceivedUTC" minOccurs="0"/>
                <xsd:element ref="ns1:Shell_x0020_SharePoint_x0020_SAEF_x0020_EmailCategories" minOccurs="0"/>
                <xsd:element ref="ns1:Shell_x0020_SharePoint_x0020_SAEF_x0020_EmailConversation" minOccurs="0"/>
                <xsd:element ref="ns1:Shell_x0020_SharePoint_x0020_SAEF_x0020_EmailCcAddress" minOccurs="0"/>
                <xsd:element ref="ns1:Shell_x0020_SharePoint_x0020_SAEF_x0020_EmailCC" minOccurs="0"/>
                <xsd:element ref="ns1:Shell_x0020_SharePoint_x0020_SAEF_x0020_EmailAttachment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Restricted|21aa7f98-4035-4019-a764-107acb7269af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ma:taxonomy="true" ma:internalName="Shell_x0020_SharePoint_x0020_SAEF_x0020_ExportControlClassificationTaxHTField0" ma:taxonomyFieldName="Shell_x0020_SharePoint_x0020_SAEF_x0020_ExportControlClassification" ma:displayName="Export Control" ma:default="9;#US content - Non Controlled (EAR99)|28f925a0-3150-42d2-9202-9af8bad33ffa" ma:fieldId="{334f96ae-8e6f-4bca-bd92-9698e8369ad6}" ma:sspId="e3aebf70-341c-4d91-bdd3-aba9df361687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e3aebf70-341c-4d91-bdd3-aba9df361687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" ma:fieldId="{566fdc14-b4fa-46ee-a88e-e2aac7ad2eac}" ma:sspId="e3aebf70-341c-4d91-bdd3-aba9df361687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Americas|f84094d2-b988-4b08-ac9c-4576a04889a5" ma:fieldId="{0d7acb72-5c17-4ee6-b184-d60d15597f6a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Safety, Environment &amp; SD|550d3980-46b0-4d7c-b584-94af22bba1ad" ma:fieldId="{98984985-015b-4079-8918-b5a01b45e4b3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e3aebf70-341c-4d91-bdd3-aba9df361687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e3aebf70-341c-4d91-bdd3-aba9df361687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SEPCO|8dc9915e-e591-43e7-91e6-c9e8b13c25a6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e3aebf70-341c-4d91-bdd3-aba9df361687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GHG and Environmental Strategy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americas\tammy.south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e3aebf70-341c-4d91-bdd3-aba9df361687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UNITED STATES|6c4ad875-5af6-45fb-9ae9-62dd1609b327" ma:fieldId="{dc07035f-7987-48f5-ba88-2d29e2b62c9e}" ma:sspId="e3aebf70-341c-4d91-bdd3-aba9df361687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Shell_x0020_SharePoint_x0020_SAEF_x0020_EmailFromAddress" ma:index="47" nillable="true" ma:displayName="From-Address" ma:hidden="true" ma:internalName="Shell_x0020_SharePoint_x0020_SAEF_x0020_EmailFromAddress">
      <xsd:simpleType>
        <xsd:restriction base="dms:Text"/>
      </xsd:simpleType>
    </xsd:element>
    <xsd:element name="Shell_x0020_SharePoint_x0020_SAEF_x0020_EmailFrom" ma:index="48" nillable="true" ma:displayName="From" ma:hidden="true" ma:internalName="Shell_x0020_SharePoint_x0020_SAEF_x0020_EmailFrom">
      <xsd:simpleType>
        <xsd:restriction base="dms:Text"/>
      </xsd:simpleType>
    </xsd:element>
    <xsd:element name="Shell_x0020_SharePoint_x0020_SAEF_x0020_EmailToAddress" ma:index="49" nillable="true" ma:displayName="To-Address" ma:hidden="true" ma:internalName="Shell_x0020_SharePoint_x0020_SAEF_x0020_EmailToAddress">
      <xsd:simpleType>
        <xsd:restriction base="dms:Text"/>
      </xsd:simpleType>
    </xsd:element>
    <xsd:element name="Shell_x0020_SharePoint_x0020_SAEF_x0020_EmailTo" ma:index="50" nillable="true" ma:displayName="To" ma:hidden="true" ma:internalName="Shell_x0020_SharePoint_x0020_SAEF_x0020_EmailTo">
      <xsd:simpleType>
        <xsd:restriction base="dms:Text"/>
      </xsd:simpleType>
    </xsd:element>
    <xsd:element name="Shell_x0020_SharePoint_x0020_SAEF_x0020_EmailSubject" ma:index="51" nillable="true" ma:displayName="Subject" ma:hidden="true" ma:internalName="Shell_x0020_SharePoint_x0020_SAEF_x0020_EmailSubject">
      <xsd:simpleType>
        <xsd:restriction base="dms:Text"/>
      </xsd:simpleType>
    </xsd:element>
    <xsd:element name="Shell_x0020_SharePoint_x0020_SAEF_x0020_EmailSentUTC" ma:index="52" nillable="true" ma:displayName="Sent-UTC" ma:hidden="true" ma:internalName="Shell_x0020_SharePoint_x0020_SAEF_x0020_EmailSentUTC">
      <xsd:simpleType>
        <xsd:restriction base="dms:DateTime"/>
      </xsd:simpleType>
    </xsd:element>
    <xsd:element name="Shell_x0020_SharePoint_x0020_SAEF_x0020_EmailReceivedUTC" ma:index="53" nillable="true" ma:displayName="Received-UTC" ma:hidden="true" ma:internalName="Shell_x0020_SharePoint_x0020_SAEF_x0020_EmailReceivedUTC">
      <xsd:simpleType>
        <xsd:restriction base="dms:DateTime"/>
      </xsd:simpleType>
    </xsd:element>
    <xsd:element name="Shell_x0020_SharePoint_x0020_SAEF_x0020_EmailCategories" ma:index="54" nillable="true" ma:displayName="Categories" ma:hidden="true" ma:internalName="Shell_x0020_SharePoint_x0020_SAEF_x0020_EmailCategories">
      <xsd:simpleType>
        <xsd:restriction base="dms:Text"/>
      </xsd:simpleType>
    </xsd:element>
    <xsd:element name="Shell_x0020_SharePoint_x0020_SAEF_x0020_EmailConversation" ma:index="55" nillable="true" ma:displayName="Conversation" ma:hidden="true" ma:internalName="Shell_x0020_SharePoint_x0020_SAEF_x0020_EmailConversation">
      <xsd:simpleType>
        <xsd:restriction base="dms:Text"/>
      </xsd:simpleType>
    </xsd:element>
    <xsd:element name="Shell_x0020_SharePoint_x0020_SAEF_x0020_EmailCcAddress" ma:index="56" nillable="true" ma:displayName="Cc-Address" ma:hidden="true" ma:internalName="Shell_x0020_SharePoint_x0020_SAEF_x0020_EmailCcAddress">
      <xsd:simpleType>
        <xsd:restriction base="dms:Text"/>
      </xsd:simpleType>
    </xsd:element>
    <xsd:element name="Shell_x0020_SharePoint_x0020_SAEF_x0020_EmailCC" ma:index="57" nillable="true" ma:displayName="Cc" ma:hidden="true" ma:internalName="Shell_x0020_SharePoint_x0020_SAEF_x0020_EmailCC">
      <xsd:simpleType>
        <xsd:restriction base="dms:Text"/>
      </xsd:simpleType>
    </xsd:element>
    <xsd:element name="Shell_x0020_SharePoint_x0020_SAEF_x0020_EmailAttachment" ma:index="58" nillable="true" ma:displayName="Attachment" ma:hidden="true" ma:internalName="Shell_x0020_SharePoint_x0020_SAEF_x0020_EmailAttachment">
      <xsd:simpleType>
        <xsd:restriction base="dms:Boolean"/>
      </xsd:simpleType>
    </xsd:element>
    <xsd:element name="_dlc_Exempt" ma:index="59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60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61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a17b58-feae-4101-b634-e656d384e36f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62" nillable="true" ma:displayName="Taxonomy Catch All Column" ma:hidden="true" ma:list="{2bfa7a31-7813-4e81-a16e-47dd17adfed3}" ma:internalName="TaxCatchAll" ma:showField="CatchAllData" ma:web="44a17b58-feae-4101-b634-e656d384e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63" nillable="true" ma:displayName="Taxonomy Catch All Column1" ma:hidden="true" ma:list="{2bfa7a31-7813-4e81-a16e-47dd17adfed3}" ma:internalName="TaxCatchAllLabel" ma:readOnly="true" ma:showField="CatchAllDataLabel" ma:web="44a17b58-feae-4101-b634-e656d384e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64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p:Policy xmlns:p="office.server.policy" id="" local="true">
  <p:Name>Shell Document Base</p:Name>
  <p:Description/>
  <p:Statement/>
  <p:PolicyItems/>
</p:Policy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4a17b58-feae-4101-b634-e656d384e36f">
      <Value>13</Value>
      <Value>11</Value>
      <Value>10</Value>
      <Value>9</Value>
      <Value>8</Value>
      <Value>7</Value>
      <Value>6</Value>
      <Value>5</Value>
      <Value>4</Value>
      <Value>3</Value>
      <Value>2</Value>
      <Value>1</Value>
    </TaxCatchAll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EPCO</TermName>
          <TermId xmlns="http://schemas.microsoft.com/office/infopath/2007/PartnerControls">8dc9915e-e591-43e7-91e6-c9e8b13c25a6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</TermName>
          <TermId xmlns="http://schemas.microsoft.com/office/infopath/2007/PartnerControls">6c4ad875-5af6-45fb-9ae9-62dd1609b327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Americas</TermName>
          <TermId xmlns="http://schemas.microsoft.com/office/infopath/2007/PartnerControls">f84094d2-b988-4b08-ac9c-4576a04889a5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RecordStatus xmlns="http://schemas.microsoft.com/sharepoint/v3" xsi:nil="true"/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S content - Non Controlled (EAR99)</TermName>
          <TermId xmlns="http://schemas.microsoft.com/office/infopath/2007/PartnerControls">28f925a0-3150-42d2-9202-9af8bad33ffa</TermId>
        </TermInfo>
      </Terms>
    </Shell_x0020_SharePoint_x0020_SAEF_x0020_ExportControlClassification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IconOverlay xmlns="http://schemas.microsoft.com/sharepoint/v4" xsi:nil="true"/>
    <Shell_x0020_SharePoint_x0020_SAEF_x0020_FilePlanRecordType xmlns="http://schemas.microsoft.com/sharepoint/v3" xsi:nil="true"/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fety, Environment &amp; SD</TermName>
          <TermId xmlns="http://schemas.microsoft.com/office/infopath/2007/PartnerControls">550d3980-46b0-4d7c-b584-94af22bba1ad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KeepFileLocal xmlns="http://schemas.microsoft.com/sharepoint/v3">false</Shell_x0020_SharePoint_x0020_SAEF_x0020_KeepFileLocal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americas\tammy.south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vironmental Programs (Air, Water, Soil, Groundwater, Waste Materials, or Multimedia) [ARM]</TermName>
          <TermId xmlns="http://schemas.microsoft.com/office/infopath/2007/PartnerControls">1770cd79-8cbd-4a3c-b65f-ce231c377a9d</TermId>
        </TermInfo>
      </Terms>
    </Shell_x0020_SharePoint_x0020_SAEF_x0020_DocumentTypeTaxHTField0>
    <Shell_x0020_SharePoint_x0020_SAEF_x0020_SiteCollectionName xmlns="http://schemas.microsoft.com/sharepoint/v3">GHG and Environmental Strategy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hell_x0020_SharePoint_x0020_SAEF_x0020_GlobalFunctionTaxHTField0>
    <Shell_x0020_SharePoint_x0020_SAEF_x0020_Declarer xmlns="http://schemas.microsoft.com/sharepoint/v3" xsi:nil="true"/>
    <Shell_x0020_SharePoint_x0020_SAEF_x0020_AssetIdentifier xmlns="http://schemas.microsoft.com/sharepoint/v3" xsi:nil="true"/>
    <_dlc_DocId xmlns="44a17b58-feae-4101-b634-e656d384e36f">AAAAB5443-517258798-4</_dlc_DocId>
    <_dlc_DocIdUrl xmlns="44a17b58-feae-4101-b634-e656d384e36f">
      <Url>https://eu001-sp.shell.com/sites/AAAAB5443/_layouts/15/DocIdRedir.aspx?ID=AAAAB5443-517258798-4</Url>
      <Description>AAAAB5443-517258798-4</Description>
    </_dlc_DocIdUrl>
    <Shell_x0020_SharePoint_x0020_SAEF_x0020_EmailCC xmlns="http://schemas.microsoft.com/sharepoint/v3" xsi:nil="true"/>
    <Shell_x0020_SharePoint_x0020_SAEF_x0020_EmailSubject xmlns="http://schemas.microsoft.com/sharepoint/v3" xsi:nil="true"/>
    <Shell_x0020_SharePoint_x0020_SAEF_x0020_EmailFrom xmlns="http://schemas.microsoft.com/sharepoint/v3" xsi:nil="true"/>
    <Shell_x0020_SharePoint_x0020_SAEF_x0020_EmailFromAddress xmlns="http://schemas.microsoft.com/sharepoint/v3" xsi:nil="true"/>
    <Shell_x0020_SharePoint_x0020_SAEF_x0020_EmailToAddress xmlns="http://schemas.microsoft.com/sharepoint/v3" xsi:nil="true"/>
    <Shell_x0020_SharePoint_x0020_SAEF_x0020_EmailCcAddress xmlns="http://schemas.microsoft.com/sharepoint/v3" xsi:nil="true"/>
    <Shell_x0020_SharePoint_x0020_SAEF_x0020_EmailAttachment xmlns="http://schemas.microsoft.com/sharepoint/v3" xsi:nil="true"/>
    <Shell_x0020_SharePoint_x0020_SAEF_x0020_EmailSentUTC xmlns="http://schemas.microsoft.com/sharepoint/v3" xsi:nil="true"/>
    <Shell_x0020_SharePoint_x0020_SAEF_x0020_EmailCategories xmlns="http://schemas.microsoft.com/sharepoint/v3" xsi:nil="true"/>
    <Shell_x0020_SharePoint_x0020_SAEF_x0020_EmailConversation xmlns="http://schemas.microsoft.com/sharepoint/v3" xsi:nil="true"/>
    <Shell_x0020_SharePoint_x0020_SAEF_x0020_EmailTo xmlns="http://schemas.microsoft.com/sharepoint/v3" xsi:nil="true"/>
    <Shell_x0020_SharePoint_x0020_SAEF_x0020_EmailReceivedUTC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0C97E35-667B-4230-A01E-519EEF5CD3D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DCB150B-7DFA-41E0-8E97-21D5B15AC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4E591F-A548-402C-840E-881A22E7A6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4a17b58-feae-4101-b634-e656d384e36f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0635B31-DDF5-4707-8E19-09B5DA8B97A4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E900B5EB-9578-47E5-9EA4-DCB753BF544E}">
  <ds:schemaRefs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4a17b58-feae-4101-b634-e656d384e36f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7june2016</Template>
  <TotalTime>8683</TotalTime>
  <Words>530</Words>
  <Application>Microsoft Office PowerPoint</Application>
  <PresentationFormat>Widescreen</PresentationFormat>
  <Paragraphs>180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Wingdings</vt:lpstr>
      <vt:lpstr>Futura Medium</vt:lpstr>
      <vt:lpstr>Calibri</vt:lpstr>
      <vt:lpstr>Courier New</vt:lpstr>
      <vt:lpstr>Futura Bold</vt:lpstr>
      <vt:lpstr>Futura</vt:lpstr>
      <vt:lpstr>Shell WizKit V3_Template_4by3_06July2016</vt:lpstr>
      <vt:lpstr>3_Shell WizKit V3_Template_Widescreen_06July2016</vt:lpstr>
      <vt:lpstr>think-cell Slide</vt:lpstr>
      <vt:lpstr>West’s Road to No.1</vt:lpstr>
      <vt:lpstr>Road to number1 – Delivering beyond the Base </vt:lpstr>
      <vt:lpstr>PowerPoint Presentation</vt:lpstr>
      <vt:lpstr>PowerPoint Presentation</vt:lpstr>
      <vt:lpstr>PowerPoint Presentation</vt:lpstr>
      <vt:lpstr>PowerPoint Presentation</vt:lpstr>
      <vt:lpstr>West in 2020 – Quarterly outlook &amp; key delivery levers (170Kboepd)</vt:lpstr>
      <vt:lpstr>West in 2020 – Monthly Oil &amp; Gas split by PU (170Kboepd)</vt:lpstr>
      <vt:lpstr>2020 “Must Wins” – SPDC WEST      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Abiodun Busari</dc:creator>
  <cp:lastModifiedBy>Busari, Abiodun N SPDC-UPO/G/UW</cp:lastModifiedBy>
  <cp:revision>486</cp:revision>
  <cp:lastPrinted>2017-08-14T09:31:58Z</cp:lastPrinted>
  <dcterms:created xsi:type="dcterms:W3CDTF">2016-07-05T22:26:00Z</dcterms:created>
  <dcterms:modified xsi:type="dcterms:W3CDTF">2019-12-19T14:5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F0A470EEB1140E7AA14F4CE8A50B54C0001CB1477F4DD432AA86DD56CC3887AF4008CD1F6CD3F804F62A513C268B318C7A3008FB5227231E8E14BA5DB165CBF8450C1</vt:lpwstr>
  </property>
  <property fmtid="{D5CDD505-2E9C-101B-9397-08002B2CF9AE}" pid="5" name="_dlc_policyId">
    <vt:lpwstr/>
  </property>
  <property fmtid="{D5CDD505-2E9C-101B-9397-08002B2CF9AE}" pid="6" name="ItemRetentionFormula">
    <vt:lpwstr/>
  </property>
  <property fmtid="{D5CDD505-2E9C-101B-9397-08002B2CF9AE}" pid="7" name="Shell SharePoint SAEF SecurityClassification">
    <vt:lpwstr>8;#Restricted|21aa7f98-4035-4019-a764-107acb7269af</vt:lpwstr>
  </property>
  <property fmtid="{D5CDD505-2E9C-101B-9397-08002B2CF9AE}" pid="8" name="Shell SharePoint SAEF BusinessProcess">
    <vt:lpwstr>10;#All - Records Management|1f68a0f2-47ab-4887-8df5-7c0616d5ad90</vt:lpwstr>
  </property>
  <property fmtid="{D5CDD505-2E9C-101B-9397-08002B2CF9AE}" pid="9" name="Shell SharePoint SAEF DocumentType">
    <vt:lpwstr>13;#Environmental Programs (Air, Water, Soil, Groundwater, Waste Materials, or Multimedia) [ARM]|1770cd79-8cbd-4a3c-b65f-ce231c377a9d</vt:lpwstr>
  </property>
  <property fmtid="{D5CDD505-2E9C-101B-9397-08002B2CF9AE}" pid="10" name="Shell SharePoint SAEF LegalEntity">
    <vt:lpwstr>4;#SEPCO|8dc9915e-e591-43e7-91e6-c9e8b13c25a6</vt:lpwstr>
  </property>
  <property fmtid="{D5CDD505-2E9C-101B-9397-08002B2CF9AE}" pid="11" name="Shell SharePoint SAEF BusinessUnitRegion">
    <vt:lpwstr>2;#Safety, Environment &amp; SD|550d3980-46b0-4d7c-b584-94af22bba1ad</vt:lpwstr>
  </property>
  <property fmtid="{D5CDD505-2E9C-101B-9397-08002B2CF9AE}" pid="12" name="Shell SharePoint SAEF GlobalFunction">
    <vt:lpwstr>3;#Not Applicable|ddce64fb-3cb8-4cd9-8e3d-0fe554247fd1</vt:lpwstr>
  </property>
  <property fmtid="{D5CDD505-2E9C-101B-9397-08002B2CF9AE}" pid="13" name="Shell SharePoint SAEF WorkgroupID">
    <vt:lpwstr>5;#Upstream _ Single File Plan - 22022|d3ed65c1-761d-4a84-a678-924ffd6ed182</vt:lpwstr>
  </property>
  <property fmtid="{D5CDD505-2E9C-101B-9397-08002B2CF9AE}" pid="14" name="Shell SharePoint SAEF CountryOfJurisdiction">
    <vt:lpwstr>7;#UNITED STATES|6c4ad875-5af6-45fb-9ae9-62dd1609b327</vt:lpwstr>
  </property>
  <property fmtid="{D5CDD505-2E9C-101B-9397-08002B2CF9AE}" pid="15" name="Shell SharePoint SAEF ExportControlClassification">
    <vt:lpwstr>9;#US content - Non Controlled (EAR99)|28f925a0-3150-42d2-9202-9af8bad33ffa</vt:lpwstr>
  </property>
  <property fmtid="{D5CDD505-2E9C-101B-9397-08002B2CF9AE}" pid="16" name="Shell SharePoint SAEF DocumentStatus">
    <vt:lpwstr>11;#Draft|1c86f377-7d91-4c95-bd5b-c18c83fe0aa5</vt:lpwstr>
  </property>
  <property fmtid="{D5CDD505-2E9C-101B-9397-08002B2CF9AE}" pid="17" name="Shell SharePoint SAEF Language">
    <vt:lpwstr>6;#English|bd3ad5ee-f0c3-40aa-8cc8-36ef09940af3</vt:lpwstr>
  </property>
  <property fmtid="{D5CDD505-2E9C-101B-9397-08002B2CF9AE}" pid="18" name="Shell SharePoint SAEF Business">
    <vt:lpwstr>1;#Upstream Americas|f84094d2-b988-4b08-ac9c-4576a04889a5</vt:lpwstr>
  </property>
  <property fmtid="{D5CDD505-2E9C-101B-9397-08002B2CF9AE}" pid="19" name="_dlc_DocIdItemGuid">
    <vt:lpwstr>afc4aecb-3ef8-4e88-8750-298e57ab994b</vt:lpwstr>
  </property>
</Properties>
</file>